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7" r:id="rId4"/>
    <p:sldMasterId id="2147484023" r:id="rId5"/>
  </p:sldMasterIdLst>
  <p:notesMasterIdLst>
    <p:notesMasterId r:id="rId29"/>
  </p:notesMasterIdLst>
  <p:handoutMasterIdLst>
    <p:handoutMasterId r:id="rId30"/>
  </p:handoutMasterIdLst>
  <p:sldIdLst>
    <p:sldId id="2147483037" r:id="rId6"/>
    <p:sldId id="2147483588" r:id="rId7"/>
    <p:sldId id="2147483589" r:id="rId8"/>
    <p:sldId id="2147483590" r:id="rId9"/>
    <p:sldId id="2147483591" r:id="rId10"/>
    <p:sldId id="2147483103" r:id="rId11"/>
    <p:sldId id="2147483585" r:id="rId12"/>
    <p:sldId id="2147483028" r:id="rId13"/>
    <p:sldId id="2147483000" r:id="rId14"/>
    <p:sldId id="2147483031" r:id="rId15"/>
    <p:sldId id="2147483066" r:id="rId16"/>
    <p:sldId id="2147483592" r:id="rId17"/>
    <p:sldId id="2147483109" r:id="rId18"/>
    <p:sldId id="2147483056" r:id="rId19"/>
    <p:sldId id="2147483088" r:id="rId20"/>
    <p:sldId id="2147483083" r:id="rId21"/>
    <p:sldId id="2147483024" r:id="rId22"/>
    <p:sldId id="2147483593" r:id="rId23"/>
    <p:sldId id="2147483055" r:id="rId24"/>
    <p:sldId id="2147483034" r:id="rId25"/>
    <p:sldId id="2147483051" r:id="rId26"/>
    <p:sldId id="2147483022" r:id="rId27"/>
    <p:sldId id="2147483587" r:id="rId28"/>
  </p:sldIdLst>
  <p:sldSz cx="9144000" cy="5143500" type="screen16x9"/>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0F76120-D6DE-5F40-8DE0-06B8CDAAA72E}">
          <p14:sldIdLst>
            <p14:sldId id="2147483037"/>
            <p14:sldId id="2147483588"/>
            <p14:sldId id="2147483589"/>
            <p14:sldId id="2147483590"/>
            <p14:sldId id="2147483591"/>
            <p14:sldId id="2147483103"/>
            <p14:sldId id="2147483585"/>
            <p14:sldId id="2147483028"/>
            <p14:sldId id="2147483000"/>
            <p14:sldId id="2147483031"/>
            <p14:sldId id="2147483066"/>
            <p14:sldId id="2147483592"/>
          </p14:sldIdLst>
        </p14:section>
        <p14:section name="Partner Enablement" id="{38930D5C-96E7-B34F-8DD0-3A19589392B4}">
          <p14:sldIdLst>
            <p14:sldId id="2147483109"/>
            <p14:sldId id="2147483056"/>
            <p14:sldId id="2147483088"/>
            <p14:sldId id="2147483083"/>
            <p14:sldId id="2147483024"/>
            <p14:sldId id="2147483593"/>
            <p14:sldId id="2147483055"/>
            <p14:sldId id="2147483034"/>
            <p14:sldId id="2147483051"/>
            <p14:sldId id="2147483022"/>
            <p14:sldId id="2147483587"/>
          </p14:sldIdLst>
        </p14:section>
      </p14:sectionLst>
    </p:ext>
    <p:ext uri="{EFAFB233-063F-42B5-8137-9DF3F51BA10A}">
      <p15:sldGuideLst xmlns:p15="http://schemas.microsoft.com/office/powerpoint/2012/main">
        <p15:guide id="1" orient="horz" pos="3230" userDrawn="1">
          <p15:clr>
            <a:srgbClr val="A4A3A4"/>
          </p15:clr>
        </p15:guide>
        <p15:guide id="2" pos="432" userDrawn="1">
          <p15:clr>
            <a:srgbClr val="A4A3A4"/>
          </p15:clr>
        </p15:guide>
        <p15:guide id="3" pos="5760" userDrawn="1">
          <p15:clr>
            <a:srgbClr val="A4A3A4"/>
          </p15:clr>
        </p15:guide>
        <p15:guide id="4" orient="horz"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E74815-1520-3343-F86A-1BEDF5DA1E27}" name="Wie San Lau" initials="WSL" userId="S::wiesan.lau@hitachivantara.com::43b9e136-462d-4349-875b-a4be6673e75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hleen Watson" initials="KW" lastIdx="1" clrIdx="0"/>
  <p:cmAuthor id="2" name="Kathleen Watson" initials="KW [2]" lastIdx="1" clrIdx="1"/>
  <p:cmAuthor id="3" name="Kathleen Watson" initials="KW [3]" lastIdx="1" clrIdx="2"/>
  <p:cmAuthor id="4" name="Kathleen Watson" initials="KW [4]" lastIdx="1" clrIdx="3"/>
  <p:cmAuthor id="5" name="Kathleen Watson" initials="KW [5]" lastIdx="1" clrIdx="4"/>
  <p:cmAuthor id="6" name="Kathleen Watson" initials="KW [6]" lastIdx="1" clrIdx="5"/>
  <p:cmAuthor id="7" name="Kathleen Watson" initials="KW [7]" lastIdx="1" clrIdx="6"/>
  <p:cmAuthor id="8" name="Kathleen Watson" initials="KW [8]" lastIdx="1" clrIdx="7"/>
  <p:cmAuthor id="9" name="Kathleen Watson" initials="KW [9]" lastIdx="1" clrIdx="8"/>
  <p:cmAuthor id="10" name="Kathleen Watson" initials="KW [10]" lastIdx="1" clrIdx="9"/>
  <p:cmAuthor id="11" name="Kathleen Watson" initials="KW [11]" lastIdx="1" clrIdx="10"/>
  <p:cmAuthor id="12" name="Kathleen Watson" initials="KW [12]" lastIdx="1" clrIdx="11"/>
  <p:cmAuthor id="13" name="Jeff San Miguel" initials="JSM" lastIdx="1" clrIdx="12"/>
  <p:cmAuthor id="14" name="Jeff San Miguel" initials="JSM [2]" lastIdx="1" clrIdx="13"/>
  <p:cmAuthor id="15" name="Jeff San Miguel" initials="JSM [3]" lastIdx="1" clrIdx="14"/>
  <p:cmAuthor id="16" name="Jeff San Miguel" initials="JSM [4]" lastIdx="1" clrIdx="15"/>
  <p:cmAuthor id="17" name="Jeff San Miguel" initials="JSM [5]" lastIdx="1" clrIdx="16"/>
  <p:cmAuthor id="18" name="Jeff San Miguel" initials="JSM [6]" lastIdx="1" clrIdx="17"/>
  <p:cmAuthor id="19" name="Jeff San Miguel" initials="JSM [7]" lastIdx="1" clrIdx="18"/>
  <p:cmAuthor id="20" name="Jeff San Miguel" initials="JSM [8]" lastIdx="1" clrIdx="19"/>
  <p:cmAuthor id="21" name="Jeff San Miguel" initials="JSM [9]" lastIdx="1" clrIdx="2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F1"/>
    <a:srgbClr val="4571B6"/>
    <a:srgbClr val="EEF1F5"/>
    <a:srgbClr val="D0D8E3"/>
    <a:srgbClr val="D2CDCE"/>
    <a:srgbClr val="F46400"/>
    <a:srgbClr val="222222"/>
    <a:srgbClr val="6D433B"/>
    <a:srgbClr val="628771"/>
    <a:srgbClr val="F8AB3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86346C-BECD-43B4-9E2D-230B8F70F74B}" v="22" dt="2024-09-12T20:18:46.066"/>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89" autoAdjust="0"/>
    <p:restoredTop sz="94660"/>
  </p:normalViewPr>
  <p:slideViewPr>
    <p:cSldViewPr snapToGrid="0">
      <p:cViewPr varScale="1">
        <p:scale>
          <a:sx n="138" d="100"/>
          <a:sy n="138" d="100"/>
        </p:scale>
        <p:origin x="834" y="120"/>
      </p:cViewPr>
      <p:guideLst>
        <p:guide orient="horz" pos="3230"/>
        <p:guide pos="432"/>
        <p:guide pos="5760"/>
        <p:guide orient="horz"/>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rdin Salam" userId="89004a45-f843-4675-a13e-f055c58c14f0" providerId="ADAL" clId="{EC86346C-BECD-43B4-9E2D-230B8F70F74B}"/>
    <pc:docChg chg="undo custSel addSld delSld modSld delMainMaster modSection">
      <pc:chgData name="Fardin Salam" userId="89004a45-f843-4675-a13e-f055c58c14f0" providerId="ADAL" clId="{EC86346C-BECD-43B4-9E2D-230B8F70F74B}" dt="2024-09-12T20:42:06.169" v="264" actId="113"/>
      <pc:docMkLst>
        <pc:docMk/>
      </pc:docMkLst>
      <pc:sldChg chg="modSp mod">
        <pc:chgData name="Fardin Salam" userId="89004a45-f843-4675-a13e-f055c58c14f0" providerId="ADAL" clId="{EC86346C-BECD-43B4-9E2D-230B8F70F74B}" dt="2024-09-12T20:42:06.169" v="264" actId="113"/>
        <pc:sldMkLst>
          <pc:docMk/>
          <pc:sldMk cId="866767950" sldId="2147483037"/>
        </pc:sldMkLst>
        <pc:spChg chg="mod">
          <ac:chgData name="Fardin Salam" userId="89004a45-f843-4675-a13e-f055c58c14f0" providerId="ADAL" clId="{EC86346C-BECD-43B4-9E2D-230B8F70F74B}" dt="2024-09-12T19:29:19.833" v="35" actId="20577"/>
          <ac:spMkLst>
            <pc:docMk/>
            <pc:sldMk cId="866767950" sldId="2147483037"/>
            <ac:spMk id="4" creationId="{FD2E837E-F710-3FF0-7B7D-AF6E5254FBF7}"/>
          </ac:spMkLst>
        </pc:spChg>
        <pc:spChg chg="mod">
          <ac:chgData name="Fardin Salam" userId="89004a45-f843-4675-a13e-f055c58c14f0" providerId="ADAL" clId="{EC86346C-BECD-43B4-9E2D-230B8F70F74B}" dt="2024-09-12T20:42:06.169" v="264" actId="113"/>
          <ac:spMkLst>
            <pc:docMk/>
            <pc:sldMk cId="866767950" sldId="2147483037"/>
            <ac:spMk id="6" creationId="{FEC5F6C0-8B06-A6AA-7327-4C3E87522E24}"/>
          </ac:spMkLst>
        </pc:spChg>
      </pc:sldChg>
      <pc:sldChg chg="del">
        <pc:chgData name="Fardin Salam" userId="89004a45-f843-4675-a13e-f055c58c14f0" providerId="ADAL" clId="{EC86346C-BECD-43B4-9E2D-230B8F70F74B}" dt="2024-09-12T20:05:52.443" v="36" actId="47"/>
        <pc:sldMkLst>
          <pc:docMk/>
          <pc:sldMk cId="1727521175" sldId="2147483041"/>
        </pc:sldMkLst>
      </pc:sldChg>
      <pc:sldChg chg="del">
        <pc:chgData name="Fardin Salam" userId="89004a45-f843-4675-a13e-f055c58c14f0" providerId="ADAL" clId="{EC86346C-BECD-43B4-9E2D-230B8F70F74B}" dt="2024-09-12T20:06:06.270" v="37" actId="47"/>
        <pc:sldMkLst>
          <pc:docMk/>
          <pc:sldMk cId="3575723457" sldId="2147483042"/>
        </pc:sldMkLst>
      </pc:sldChg>
      <pc:sldChg chg="del">
        <pc:chgData name="Fardin Salam" userId="89004a45-f843-4675-a13e-f055c58c14f0" providerId="ADAL" clId="{EC86346C-BECD-43B4-9E2D-230B8F70F74B}" dt="2024-09-12T20:18:52.025" v="66" actId="47"/>
        <pc:sldMkLst>
          <pc:docMk/>
          <pc:sldMk cId="926261888" sldId="2147483049"/>
        </pc:sldMkLst>
      </pc:sldChg>
      <pc:sldChg chg="del">
        <pc:chgData name="Fardin Salam" userId="89004a45-f843-4675-a13e-f055c58c14f0" providerId="ADAL" clId="{EC86346C-BECD-43B4-9E2D-230B8F70F74B}" dt="2024-09-12T20:17:27.505" v="44" actId="47"/>
        <pc:sldMkLst>
          <pc:docMk/>
          <pc:sldMk cId="2451113884" sldId="2147483050"/>
        </pc:sldMkLst>
      </pc:sldChg>
      <pc:sldChg chg="del">
        <pc:chgData name="Fardin Salam" userId="89004a45-f843-4675-a13e-f055c58c14f0" providerId="ADAL" clId="{EC86346C-BECD-43B4-9E2D-230B8F70F74B}" dt="2024-09-12T19:20:46.844" v="0" actId="47"/>
        <pc:sldMkLst>
          <pc:docMk/>
          <pc:sldMk cId="2791462312" sldId="2147483054"/>
        </pc:sldMkLst>
      </pc:sldChg>
      <pc:sldChg chg="del">
        <pc:chgData name="Fardin Salam" userId="89004a45-f843-4675-a13e-f055c58c14f0" providerId="ADAL" clId="{EC86346C-BECD-43B4-9E2D-230B8F70F74B}" dt="2024-09-12T19:29:01.671" v="20" actId="47"/>
        <pc:sldMkLst>
          <pc:docMk/>
          <pc:sldMk cId="1390618405" sldId="2147483106"/>
        </pc:sldMkLst>
      </pc:sldChg>
      <pc:sldChg chg="modSp add del">
        <pc:chgData name="Fardin Salam" userId="89004a45-f843-4675-a13e-f055c58c14f0" providerId="ADAL" clId="{EC86346C-BECD-43B4-9E2D-230B8F70F74B}" dt="2024-09-12T20:18:20.446" v="61" actId="47"/>
        <pc:sldMkLst>
          <pc:docMk/>
          <pc:sldMk cId="3705014421" sldId="2147483108"/>
        </pc:sldMkLst>
        <pc:spChg chg="mod">
          <ac:chgData name="Fardin Salam" userId="89004a45-f843-4675-a13e-f055c58c14f0" providerId="ADAL" clId="{EC86346C-BECD-43B4-9E2D-230B8F70F74B}" dt="2024-09-12T19:28:14.085" v="19"/>
          <ac:spMkLst>
            <pc:docMk/>
            <pc:sldMk cId="3705014421" sldId="2147483108"/>
            <ac:spMk id="21" creationId="{5F08B353-4030-46EC-926B-968354767F34}"/>
          </ac:spMkLst>
        </pc:spChg>
      </pc:sldChg>
      <pc:sldChg chg="modSp mod">
        <pc:chgData name="Fardin Salam" userId="89004a45-f843-4675-a13e-f055c58c14f0" providerId="ADAL" clId="{EC86346C-BECD-43B4-9E2D-230B8F70F74B}" dt="2024-09-12T20:39:10.531" v="85" actId="20577"/>
        <pc:sldMkLst>
          <pc:docMk/>
          <pc:sldMk cId="4169663075" sldId="2147483109"/>
        </pc:sldMkLst>
        <pc:spChg chg="mod">
          <ac:chgData name="Fardin Salam" userId="89004a45-f843-4675-a13e-f055c58c14f0" providerId="ADAL" clId="{EC86346C-BECD-43B4-9E2D-230B8F70F74B}" dt="2024-09-12T20:39:10.531" v="85" actId="20577"/>
          <ac:spMkLst>
            <pc:docMk/>
            <pc:sldMk cId="4169663075" sldId="2147483109"/>
            <ac:spMk id="5" creationId="{439E67D6-D8CE-A626-AE17-C153085BF00E}"/>
          </ac:spMkLst>
        </pc:spChg>
      </pc:sldChg>
      <pc:sldChg chg="del">
        <pc:chgData name="Fardin Salam" userId="89004a45-f843-4675-a13e-f055c58c14f0" providerId="ADAL" clId="{EC86346C-BECD-43B4-9E2D-230B8F70F74B}" dt="2024-09-12T19:23:07.267" v="9" actId="47"/>
        <pc:sldMkLst>
          <pc:docMk/>
          <pc:sldMk cId="4061341300" sldId="2147483584"/>
        </pc:sldMkLst>
      </pc:sldChg>
      <pc:sldChg chg="addSp delSp modSp mod">
        <pc:chgData name="Fardin Salam" userId="89004a45-f843-4675-a13e-f055c58c14f0" providerId="ADAL" clId="{EC86346C-BECD-43B4-9E2D-230B8F70F74B}" dt="2024-09-12T19:22:57.694" v="8" actId="207"/>
        <pc:sldMkLst>
          <pc:docMk/>
          <pc:sldMk cId="1866609057" sldId="2147483585"/>
        </pc:sldMkLst>
        <pc:spChg chg="del">
          <ac:chgData name="Fardin Salam" userId="89004a45-f843-4675-a13e-f055c58c14f0" providerId="ADAL" clId="{EC86346C-BECD-43B4-9E2D-230B8F70F74B}" dt="2024-09-12T19:21:27.424" v="1" actId="478"/>
          <ac:spMkLst>
            <pc:docMk/>
            <pc:sldMk cId="1866609057" sldId="2147483585"/>
            <ac:spMk id="2" creationId="{00636FFB-D7C5-54CC-217F-6E8847DE0C80}"/>
          </ac:spMkLst>
        </pc:spChg>
        <pc:spChg chg="add del mod">
          <ac:chgData name="Fardin Salam" userId="89004a45-f843-4675-a13e-f055c58c14f0" providerId="ADAL" clId="{EC86346C-BECD-43B4-9E2D-230B8F70F74B}" dt="2024-09-12T19:21:29.101" v="2" actId="478"/>
          <ac:spMkLst>
            <pc:docMk/>
            <pc:sldMk cId="1866609057" sldId="2147483585"/>
            <ac:spMk id="4" creationId="{659A4EE3-0820-246B-B692-28311DC3D8B6}"/>
          </ac:spMkLst>
        </pc:spChg>
        <pc:spChg chg="add del mod">
          <ac:chgData name="Fardin Salam" userId="89004a45-f843-4675-a13e-f055c58c14f0" providerId="ADAL" clId="{EC86346C-BECD-43B4-9E2D-230B8F70F74B}" dt="2024-09-12T19:21:50.559" v="4" actId="478"/>
          <ac:spMkLst>
            <pc:docMk/>
            <pc:sldMk cId="1866609057" sldId="2147483585"/>
            <ac:spMk id="5" creationId="{7CB81667-F353-7052-04CA-F6E2D8CDC095}"/>
          </ac:spMkLst>
        </pc:spChg>
        <pc:spChg chg="add del mod">
          <ac:chgData name="Fardin Salam" userId="89004a45-f843-4675-a13e-f055c58c14f0" providerId="ADAL" clId="{EC86346C-BECD-43B4-9E2D-230B8F70F74B}" dt="2024-09-12T19:21:50.559" v="4" actId="478"/>
          <ac:spMkLst>
            <pc:docMk/>
            <pc:sldMk cId="1866609057" sldId="2147483585"/>
            <ac:spMk id="6" creationId="{8BE69B93-4C87-EDE8-5292-B194AD0CD142}"/>
          </ac:spMkLst>
        </pc:spChg>
        <pc:spChg chg="add del mod">
          <ac:chgData name="Fardin Salam" userId="89004a45-f843-4675-a13e-f055c58c14f0" providerId="ADAL" clId="{EC86346C-BECD-43B4-9E2D-230B8F70F74B}" dt="2024-09-12T19:21:50.559" v="4" actId="478"/>
          <ac:spMkLst>
            <pc:docMk/>
            <pc:sldMk cId="1866609057" sldId="2147483585"/>
            <ac:spMk id="7" creationId="{632CA7B7-5A15-9EC8-FD9D-2DC44B788F3D}"/>
          </ac:spMkLst>
        </pc:spChg>
        <pc:spChg chg="add del mod">
          <ac:chgData name="Fardin Salam" userId="89004a45-f843-4675-a13e-f055c58c14f0" providerId="ADAL" clId="{EC86346C-BECD-43B4-9E2D-230B8F70F74B}" dt="2024-09-12T19:21:50.559" v="4" actId="478"/>
          <ac:spMkLst>
            <pc:docMk/>
            <pc:sldMk cId="1866609057" sldId="2147483585"/>
            <ac:spMk id="8" creationId="{A29D1BFC-4A0E-FA19-8C7D-4255F6E00782}"/>
          </ac:spMkLst>
        </pc:spChg>
        <pc:spChg chg="add del mod">
          <ac:chgData name="Fardin Salam" userId="89004a45-f843-4675-a13e-f055c58c14f0" providerId="ADAL" clId="{EC86346C-BECD-43B4-9E2D-230B8F70F74B}" dt="2024-09-12T19:21:50.559" v="4" actId="478"/>
          <ac:spMkLst>
            <pc:docMk/>
            <pc:sldMk cId="1866609057" sldId="2147483585"/>
            <ac:spMk id="9" creationId="{5A56C74F-84E8-3402-BEB6-4C7ABA725B09}"/>
          </ac:spMkLst>
        </pc:spChg>
        <pc:spChg chg="add del mod">
          <ac:chgData name="Fardin Salam" userId="89004a45-f843-4675-a13e-f055c58c14f0" providerId="ADAL" clId="{EC86346C-BECD-43B4-9E2D-230B8F70F74B}" dt="2024-09-12T19:21:50.559" v="4" actId="478"/>
          <ac:spMkLst>
            <pc:docMk/>
            <pc:sldMk cId="1866609057" sldId="2147483585"/>
            <ac:spMk id="10" creationId="{0DF3092F-8012-3839-AE29-95B211673B33}"/>
          </ac:spMkLst>
        </pc:spChg>
        <pc:spChg chg="add del mod">
          <ac:chgData name="Fardin Salam" userId="89004a45-f843-4675-a13e-f055c58c14f0" providerId="ADAL" clId="{EC86346C-BECD-43B4-9E2D-230B8F70F74B}" dt="2024-09-12T19:21:50.559" v="4" actId="478"/>
          <ac:spMkLst>
            <pc:docMk/>
            <pc:sldMk cId="1866609057" sldId="2147483585"/>
            <ac:spMk id="11" creationId="{DF1B8A02-D9AC-7AF0-941E-8483922FFAA6}"/>
          </ac:spMkLst>
        </pc:spChg>
        <pc:spChg chg="add del mod">
          <ac:chgData name="Fardin Salam" userId="89004a45-f843-4675-a13e-f055c58c14f0" providerId="ADAL" clId="{EC86346C-BECD-43B4-9E2D-230B8F70F74B}" dt="2024-09-12T19:21:50.559" v="4" actId="478"/>
          <ac:spMkLst>
            <pc:docMk/>
            <pc:sldMk cId="1866609057" sldId="2147483585"/>
            <ac:spMk id="12" creationId="{842D46BE-274C-16EE-E645-BAB3058C2AE6}"/>
          </ac:spMkLst>
        </pc:spChg>
        <pc:spChg chg="add del mod">
          <ac:chgData name="Fardin Salam" userId="89004a45-f843-4675-a13e-f055c58c14f0" providerId="ADAL" clId="{EC86346C-BECD-43B4-9E2D-230B8F70F74B}" dt="2024-09-12T19:21:50.559" v="4" actId="478"/>
          <ac:spMkLst>
            <pc:docMk/>
            <pc:sldMk cId="1866609057" sldId="2147483585"/>
            <ac:spMk id="13" creationId="{E722737E-B1F3-83AF-459D-346D1E4D8C2C}"/>
          </ac:spMkLst>
        </pc:spChg>
        <pc:spChg chg="add del mod">
          <ac:chgData name="Fardin Salam" userId="89004a45-f843-4675-a13e-f055c58c14f0" providerId="ADAL" clId="{EC86346C-BECD-43B4-9E2D-230B8F70F74B}" dt="2024-09-12T19:21:50.559" v="4" actId="478"/>
          <ac:spMkLst>
            <pc:docMk/>
            <pc:sldMk cId="1866609057" sldId="2147483585"/>
            <ac:spMk id="14" creationId="{D17C45BD-FB3A-4B1C-2C29-BA85AE2158D9}"/>
          </ac:spMkLst>
        </pc:spChg>
        <pc:spChg chg="add del mod">
          <ac:chgData name="Fardin Salam" userId="89004a45-f843-4675-a13e-f055c58c14f0" providerId="ADAL" clId="{EC86346C-BECD-43B4-9E2D-230B8F70F74B}" dt="2024-09-12T19:21:50.559" v="4" actId="478"/>
          <ac:spMkLst>
            <pc:docMk/>
            <pc:sldMk cId="1866609057" sldId="2147483585"/>
            <ac:spMk id="15" creationId="{1B25F6A3-0069-B295-8031-2CF451D47CA4}"/>
          </ac:spMkLst>
        </pc:spChg>
        <pc:spChg chg="add del mod">
          <ac:chgData name="Fardin Salam" userId="89004a45-f843-4675-a13e-f055c58c14f0" providerId="ADAL" clId="{EC86346C-BECD-43B4-9E2D-230B8F70F74B}" dt="2024-09-12T19:21:50.559" v="4" actId="478"/>
          <ac:spMkLst>
            <pc:docMk/>
            <pc:sldMk cId="1866609057" sldId="2147483585"/>
            <ac:spMk id="16" creationId="{A2EA1D2D-BF74-58C2-994E-30DA62318558}"/>
          </ac:spMkLst>
        </pc:spChg>
        <pc:spChg chg="add del mod">
          <ac:chgData name="Fardin Salam" userId="89004a45-f843-4675-a13e-f055c58c14f0" providerId="ADAL" clId="{EC86346C-BECD-43B4-9E2D-230B8F70F74B}" dt="2024-09-12T19:21:50.559" v="4" actId="478"/>
          <ac:spMkLst>
            <pc:docMk/>
            <pc:sldMk cId="1866609057" sldId="2147483585"/>
            <ac:spMk id="17" creationId="{5CAD3495-3CBF-7217-2D75-ED334DFCF6EF}"/>
          </ac:spMkLst>
        </pc:spChg>
        <pc:spChg chg="add del mod">
          <ac:chgData name="Fardin Salam" userId="89004a45-f843-4675-a13e-f055c58c14f0" providerId="ADAL" clId="{EC86346C-BECD-43B4-9E2D-230B8F70F74B}" dt="2024-09-12T19:21:50.559" v="4" actId="478"/>
          <ac:spMkLst>
            <pc:docMk/>
            <pc:sldMk cId="1866609057" sldId="2147483585"/>
            <ac:spMk id="18" creationId="{49499F1C-B1CD-0893-A9DF-878B1B932CB9}"/>
          </ac:spMkLst>
        </pc:spChg>
        <pc:spChg chg="add del mod">
          <ac:chgData name="Fardin Salam" userId="89004a45-f843-4675-a13e-f055c58c14f0" providerId="ADAL" clId="{EC86346C-BECD-43B4-9E2D-230B8F70F74B}" dt="2024-09-12T19:21:50.559" v="4" actId="478"/>
          <ac:spMkLst>
            <pc:docMk/>
            <pc:sldMk cId="1866609057" sldId="2147483585"/>
            <ac:spMk id="25" creationId="{7335E7C3-FC9D-F9DF-0C3F-08390B68FF88}"/>
          </ac:spMkLst>
        </pc:spChg>
        <pc:spChg chg="add del mod">
          <ac:chgData name="Fardin Salam" userId="89004a45-f843-4675-a13e-f055c58c14f0" providerId="ADAL" clId="{EC86346C-BECD-43B4-9E2D-230B8F70F74B}" dt="2024-09-12T19:21:50.559" v="4" actId="478"/>
          <ac:spMkLst>
            <pc:docMk/>
            <pc:sldMk cId="1866609057" sldId="2147483585"/>
            <ac:spMk id="26" creationId="{323FC491-EC40-BCAA-A5F7-6CC2961CD717}"/>
          </ac:spMkLst>
        </pc:spChg>
        <pc:spChg chg="add del mod">
          <ac:chgData name="Fardin Salam" userId="89004a45-f843-4675-a13e-f055c58c14f0" providerId="ADAL" clId="{EC86346C-BECD-43B4-9E2D-230B8F70F74B}" dt="2024-09-12T19:21:50.559" v="4" actId="478"/>
          <ac:spMkLst>
            <pc:docMk/>
            <pc:sldMk cId="1866609057" sldId="2147483585"/>
            <ac:spMk id="27" creationId="{B028E6EC-259D-F0C1-84E0-5574B59035CE}"/>
          </ac:spMkLst>
        </pc:spChg>
        <pc:spChg chg="add del mod">
          <ac:chgData name="Fardin Salam" userId="89004a45-f843-4675-a13e-f055c58c14f0" providerId="ADAL" clId="{EC86346C-BECD-43B4-9E2D-230B8F70F74B}" dt="2024-09-12T19:21:50.559" v="4" actId="478"/>
          <ac:spMkLst>
            <pc:docMk/>
            <pc:sldMk cId="1866609057" sldId="2147483585"/>
            <ac:spMk id="28" creationId="{D232BC3E-BD1C-5DBD-40C2-F9A3EE635E07}"/>
          </ac:spMkLst>
        </pc:spChg>
        <pc:spChg chg="add mod">
          <ac:chgData name="Fardin Salam" userId="89004a45-f843-4675-a13e-f055c58c14f0" providerId="ADAL" clId="{EC86346C-BECD-43B4-9E2D-230B8F70F74B}" dt="2024-09-12T19:21:51.580" v="5"/>
          <ac:spMkLst>
            <pc:docMk/>
            <pc:sldMk cId="1866609057" sldId="2147483585"/>
            <ac:spMk id="29" creationId="{515380EE-EB07-1003-4788-4B6CF09C1048}"/>
          </ac:spMkLst>
        </pc:spChg>
        <pc:spChg chg="add mod">
          <ac:chgData name="Fardin Salam" userId="89004a45-f843-4675-a13e-f055c58c14f0" providerId="ADAL" clId="{EC86346C-BECD-43B4-9E2D-230B8F70F74B}" dt="2024-09-12T19:21:51.580" v="5"/>
          <ac:spMkLst>
            <pc:docMk/>
            <pc:sldMk cId="1866609057" sldId="2147483585"/>
            <ac:spMk id="30" creationId="{09FD88F6-B393-0C12-19CE-B39146FD069B}"/>
          </ac:spMkLst>
        </pc:spChg>
        <pc:spChg chg="add mod">
          <ac:chgData name="Fardin Salam" userId="89004a45-f843-4675-a13e-f055c58c14f0" providerId="ADAL" clId="{EC86346C-BECD-43B4-9E2D-230B8F70F74B}" dt="2024-09-12T19:21:51.580" v="5"/>
          <ac:spMkLst>
            <pc:docMk/>
            <pc:sldMk cId="1866609057" sldId="2147483585"/>
            <ac:spMk id="31" creationId="{C8E609DD-B936-8361-2695-0B184E53C803}"/>
          </ac:spMkLst>
        </pc:spChg>
        <pc:spChg chg="add mod">
          <ac:chgData name="Fardin Salam" userId="89004a45-f843-4675-a13e-f055c58c14f0" providerId="ADAL" clId="{EC86346C-BECD-43B4-9E2D-230B8F70F74B}" dt="2024-09-12T19:21:51.580" v="5"/>
          <ac:spMkLst>
            <pc:docMk/>
            <pc:sldMk cId="1866609057" sldId="2147483585"/>
            <ac:spMk id="32" creationId="{23428121-388B-48F0-3D45-2B44D9BBB6BF}"/>
          </ac:spMkLst>
        </pc:spChg>
        <pc:spChg chg="add mod">
          <ac:chgData name="Fardin Salam" userId="89004a45-f843-4675-a13e-f055c58c14f0" providerId="ADAL" clId="{EC86346C-BECD-43B4-9E2D-230B8F70F74B}" dt="2024-09-12T19:21:51.580" v="5"/>
          <ac:spMkLst>
            <pc:docMk/>
            <pc:sldMk cId="1866609057" sldId="2147483585"/>
            <ac:spMk id="33" creationId="{4265AA4E-4A9B-95C4-0161-E68428B7CA71}"/>
          </ac:spMkLst>
        </pc:spChg>
        <pc:spChg chg="add mod">
          <ac:chgData name="Fardin Salam" userId="89004a45-f843-4675-a13e-f055c58c14f0" providerId="ADAL" clId="{EC86346C-BECD-43B4-9E2D-230B8F70F74B}" dt="2024-09-12T19:21:51.580" v="5"/>
          <ac:spMkLst>
            <pc:docMk/>
            <pc:sldMk cId="1866609057" sldId="2147483585"/>
            <ac:spMk id="34" creationId="{E982EEE8-C08A-9F57-67BF-50CDE2E88C8F}"/>
          </ac:spMkLst>
        </pc:spChg>
        <pc:spChg chg="add mod">
          <ac:chgData name="Fardin Salam" userId="89004a45-f843-4675-a13e-f055c58c14f0" providerId="ADAL" clId="{EC86346C-BECD-43B4-9E2D-230B8F70F74B}" dt="2024-09-12T19:21:51.580" v="5"/>
          <ac:spMkLst>
            <pc:docMk/>
            <pc:sldMk cId="1866609057" sldId="2147483585"/>
            <ac:spMk id="35" creationId="{3ECE83AF-E4FB-E0E9-0999-B7942EFF3E9B}"/>
          </ac:spMkLst>
        </pc:spChg>
        <pc:spChg chg="add mod">
          <ac:chgData name="Fardin Salam" userId="89004a45-f843-4675-a13e-f055c58c14f0" providerId="ADAL" clId="{EC86346C-BECD-43B4-9E2D-230B8F70F74B}" dt="2024-09-12T19:21:51.580" v="5"/>
          <ac:spMkLst>
            <pc:docMk/>
            <pc:sldMk cId="1866609057" sldId="2147483585"/>
            <ac:spMk id="36" creationId="{C404BDAF-CE7B-9ED9-FA59-7DDB651D65BD}"/>
          </ac:spMkLst>
        </pc:spChg>
        <pc:spChg chg="add mod">
          <ac:chgData name="Fardin Salam" userId="89004a45-f843-4675-a13e-f055c58c14f0" providerId="ADAL" clId="{EC86346C-BECD-43B4-9E2D-230B8F70F74B}" dt="2024-09-12T19:21:51.580" v="5"/>
          <ac:spMkLst>
            <pc:docMk/>
            <pc:sldMk cId="1866609057" sldId="2147483585"/>
            <ac:spMk id="37" creationId="{71889909-B5FB-F919-D6D7-FD5BDDCC4697}"/>
          </ac:spMkLst>
        </pc:spChg>
        <pc:spChg chg="add mod">
          <ac:chgData name="Fardin Salam" userId="89004a45-f843-4675-a13e-f055c58c14f0" providerId="ADAL" clId="{EC86346C-BECD-43B4-9E2D-230B8F70F74B}" dt="2024-09-12T19:21:51.580" v="5"/>
          <ac:spMkLst>
            <pc:docMk/>
            <pc:sldMk cId="1866609057" sldId="2147483585"/>
            <ac:spMk id="38" creationId="{DB160FB4-6F88-14C4-388D-0B77934D7F21}"/>
          </ac:spMkLst>
        </pc:spChg>
        <pc:spChg chg="add mod">
          <ac:chgData name="Fardin Salam" userId="89004a45-f843-4675-a13e-f055c58c14f0" providerId="ADAL" clId="{EC86346C-BECD-43B4-9E2D-230B8F70F74B}" dt="2024-09-12T19:21:51.580" v="5"/>
          <ac:spMkLst>
            <pc:docMk/>
            <pc:sldMk cId="1866609057" sldId="2147483585"/>
            <ac:spMk id="39" creationId="{2A63B466-15EB-E938-EC2E-F22AE19D04C8}"/>
          </ac:spMkLst>
        </pc:spChg>
        <pc:spChg chg="del">
          <ac:chgData name="Fardin Salam" userId="89004a45-f843-4675-a13e-f055c58c14f0" providerId="ADAL" clId="{EC86346C-BECD-43B4-9E2D-230B8F70F74B}" dt="2024-09-12T19:21:27.424" v="1" actId="478"/>
          <ac:spMkLst>
            <pc:docMk/>
            <pc:sldMk cId="1866609057" sldId="2147483585"/>
            <ac:spMk id="41" creationId="{381FA833-76C3-C02C-E08D-5290E44E121B}"/>
          </ac:spMkLst>
        </pc:spChg>
        <pc:spChg chg="del">
          <ac:chgData name="Fardin Salam" userId="89004a45-f843-4675-a13e-f055c58c14f0" providerId="ADAL" clId="{EC86346C-BECD-43B4-9E2D-230B8F70F74B}" dt="2024-09-12T19:21:27.424" v="1" actId="478"/>
          <ac:spMkLst>
            <pc:docMk/>
            <pc:sldMk cId="1866609057" sldId="2147483585"/>
            <ac:spMk id="42" creationId="{3064E508-BEA5-11E9-BB8C-544D6C94C4F5}"/>
          </ac:spMkLst>
        </pc:spChg>
        <pc:spChg chg="del">
          <ac:chgData name="Fardin Salam" userId="89004a45-f843-4675-a13e-f055c58c14f0" providerId="ADAL" clId="{EC86346C-BECD-43B4-9E2D-230B8F70F74B}" dt="2024-09-12T19:21:27.424" v="1" actId="478"/>
          <ac:spMkLst>
            <pc:docMk/>
            <pc:sldMk cId="1866609057" sldId="2147483585"/>
            <ac:spMk id="43" creationId="{0C012218-4510-F7E3-B7B2-BC43714AFF32}"/>
          </ac:spMkLst>
        </pc:spChg>
        <pc:spChg chg="del">
          <ac:chgData name="Fardin Salam" userId="89004a45-f843-4675-a13e-f055c58c14f0" providerId="ADAL" clId="{EC86346C-BECD-43B4-9E2D-230B8F70F74B}" dt="2024-09-12T19:21:27.424" v="1" actId="478"/>
          <ac:spMkLst>
            <pc:docMk/>
            <pc:sldMk cId="1866609057" sldId="2147483585"/>
            <ac:spMk id="44" creationId="{E09766BE-084C-E18E-3A38-DB44577CD4C0}"/>
          </ac:spMkLst>
        </pc:spChg>
        <pc:spChg chg="del">
          <ac:chgData name="Fardin Salam" userId="89004a45-f843-4675-a13e-f055c58c14f0" providerId="ADAL" clId="{EC86346C-BECD-43B4-9E2D-230B8F70F74B}" dt="2024-09-12T19:21:27.424" v="1" actId="478"/>
          <ac:spMkLst>
            <pc:docMk/>
            <pc:sldMk cId="1866609057" sldId="2147483585"/>
            <ac:spMk id="48" creationId="{7A4FBB0E-1644-BA63-83A9-A795F8D0F391}"/>
          </ac:spMkLst>
        </pc:spChg>
        <pc:spChg chg="add mod">
          <ac:chgData name="Fardin Salam" userId="89004a45-f843-4675-a13e-f055c58c14f0" providerId="ADAL" clId="{EC86346C-BECD-43B4-9E2D-230B8F70F74B}" dt="2024-09-12T19:21:51.580" v="5"/>
          <ac:spMkLst>
            <pc:docMk/>
            <pc:sldMk cId="1866609057" sldId="2147483585"/>
            <ac:spMk id="51" creationId="{4B2175BB-2F6E-98AB-D01C-4E4DA90C3267}"/>
          </ac:spMkLst>
        </pc:spChg>
        <pc:spChg chg="add mod">
          <ac:chgData name="Fardin Salam" userId="89004a45-f843-4675-a13e-f055c58c14f0" providerId="ADAL" clId="{EC86346C-BECD-43B4-9E2D-230B8F70F74B}" dt="2024-09-12T19:21:51.580" v="5"/>
          <ac:spMkLst>
            <pc:docMk/>
            <pc:sldMk cId="1866609057" sldId="2147483585"/>
            <ac:spMk id="52" creationId="{7FA4D649-923E-CCC6-DE7E-E0C870244C16}"/>
          </ac:spMkLst>
        </pc:spChg>
        <pc:spChg chg="add mod">
          <ac:chgData name="Fardin Salam" userId="89004a45-f843-4675-a13e-f055c58c14f0" providerId="ADAL" clId="{EC86346C-BECD-43B4-9E2D-230B8F70F74B}" dt="2024-09-12T19:21:51.580" v="5"/>
          <ac:spMkLst>
            <pc:docMk/>
            <pc:sldMk cId="1866609057" sldId="2147483585"/>
            <ac:spMk id="53" creationId="{288301B4-01E5-A41E-D537-B34634BD89E5}"/>
          </ac:spMkLst>
        </pc:spChg>
        <pc:spChg chg="del">
          <ac:chgData name="Fardin Salam" userId="89004a45-f843-4675-a13e-f055c58c14f0" providerId="ADAL" clId="{EC86346C-BECD-43B4-9E2D-230B8F70F74B}" dt="2024-09-12T19:21:27.424" v="1" actId="478"/>
          <ac:spMkLst>
            <pc:docMk/>
            <pc:sldMk cId="1866609057" sldId="2147483585"/>
            <ac:spMk id="59" creationId="{0FC78865-737D-03E2-86D5-7308BB9CE842}"/>
          </ac:spMkLst>
        </pc:spChg>
        <pc:spChg chg="del">
          <ac:chgData name="Fardin Salam" userId="89004a45-f843-4675-a13e-f055c58c14f0" providerId="ADAL" clId="{EC86346C-BECD-43B4-9E2D-230B8F70F74B}" dt="2024-09-12T19:21:27.424" v="1" actId="478"/>
          <ac:spMkLst>
            <pc:docMk/>
            <pc:sldMk cId="1866609057" sldId="2147483585"/>
            <ac:spMk id="60" creationId="{593B1173-93FC-799F-4602-54CEA55B51F2}"/>
          </ac:spMkLst>
        </pc:spChg>
        <pc:spChg chg="del">
          <ac:chgData name="Fardin Salam" userId="89004a45-f843-4675-a13e-f055c58c14f0" providerId="ADAL" clId="{EC86346C-BECD-43B4-9E2D-230B8F70F74B}" dt="2024-09-12T19:21:27.424" v="1" actId="478"/>
          <ac:spMkLst>
            <pc:docMk/>
            <pc:sldMk cId="1866609057" sldId="2147483585"/>
            <ac:spMk id="61" creationId="{8536C5DD-1829-275E-B261-49872C6C2BAF}"/>
          </ac:spMkLst>
        </pc:spChg>
        <pc:spChg chg="del">
          <ac:chgData name="Fardin Salam" userId="89004a45-f843-4675-a13e-f055c58c14f0" providerId="ADAL" clId="{EC86346C-BECD-43B4-9E2D-230B8F70F74B}" dt="2024-09-12T19:21:27.424" v="1" actId="478"/>
          <ac:spMkLst>
            <pc:docMk/>
            <pc:sldMk cId="1866609057" sldId="2147483585"/>
            <ac:spMk id="62" creationId="{E67463E5-A207-5D8E-67BC-58A999CF5733}"/>
          </ac:spMkLst>
        </pc:spChg>
        <pc:spChg chg="del">
          <ac:chgData name="Fardin Salam" userId="89004a45-f843-4675-a13e-f055c58c14f0" providerId="ADAL" clId="{EC86346C-BECD-43B4-9E2D-230B8F70F74B}" dt="2024-09-12T19:21:27.424" v="1" actId="478"/>
          <ac:spMkLst>
            <pc:docMk/>
            <pc:sldMk cId="1866609057" sldId="2147483585"/>
            <ac:spMk id="63" creationId="{7D460AC8-A01B-A3EC-5891-CFAB7EA15669}"/>
          </ac:spMkLst>
        </pc:spChg>
        <pc:spChg chg="del">
          <ac:chgData name="Fardin Salam" userId="89004a45-f843-4675-a13e-f055c58c14f0" providerId="ADAL" clId="{EC86346C-BECD-43B4-9E2D-230B8F70F74B}" dt="2024-09-12T19:21:27.424" v="1" actId="478"/>
          <ac:spMkLst>
            <pc:docMk/>
            <pc:sldMk cId="1866609057" sldId="2147483585"/>
            <ac:spMk id="64" creationId="{382083B8-04BD-EAEE-10D3-9DDF106E2F14}"/>
          </ac:spMkLst>
        </pc:spChg>
        <pc:spChg chg="del">
          <ac:chgData name="Fardin Salam" userId="89004a45-f843-4675-a13e-f055c58c14f0" providerId="ADAL" clId="{EC86346C-BECD-43B4-9E2D-230B8F70F74B}" dt="2024-09-12T19:21:27.424" v="1" actId="478"/>
          <ac:spMkLst>
            <pc:docMk/>
            <pc:sldMk cId="1866609057" sldId="2147483585"/>
            <ac:spMk id="65" creationId="{FBD16D9F-6DD0-BC57-1DC6-1462FEF985AC}"/>
          </ac:spMkLst>
        </pc:spChg>
        <pc:spChg chg="del">
          <ac:chgData name="Fardin Salam" userId="89004a45-f843-4675-a13e-f055c58c14f0" providerId="ADAL" clId="{EC86346C-BECD-43B4-9E2D-230B8F70F74B}" dt="2024-09-12T19:21:27.424" v="1" actId="478"/>
          <ac:spMkLst>
            <pc:docMk/>
            <pc:sldMk cId="1866609057" sldId="2147483585"/>
            <ac:spMk id="66" creationId="{3B1B8B5D-0EB8-9D51-35A4-F68E4B09FDA0}"/>
          </ac:spMkLst>
        </pc:spChg>
        <pc:spChg chg="del">
          <ac:chgData name="Fardin Salam" userId="89004a45-f843-4675-a13e-f055c58c14f0" providerId="ADAL" clId="{EC86346C-BECD-43B4-9E2D-230B8F70F74B}" dt="2024-09-12T19:21:27.424" v="1" actId="478"/>
          <ac:spMkLst>
            <pc:docMk/>
            <pc:sldMk cId="1866609057" sldId="2147483585"/>
            <ac:spMk id="67" creationId="{B668F7F7-B9CE-F0F7-F379-7B29C93A7367}"/>
          </ac:spMkLst>
        </pc:spChg>
        <pc:spChg chg="del">
          <ac:chgData name="Fardin Salam" userId="89004a45-f843-4675-a13e-f055c58c14f0" providerId="ADAL" clId="{EC86346C-BECD-43B4-9E2D-230B8F70F74B}" dt="2024-09-12T19:21:27.424" v="1" actId="478"/>
          <ac:spMkLst>
            <pc:docMk/>
            <pc:sldMk cId="1866609057" sldId="2147483585"/>
            <ac:spMk id="68" creationId="{6C9374DA-FCE3-1641-9CED-34AE6B7660B3}"/>
          </ac:spMkLst>
        </pc:spChg>
        <pc:spChg chg="del">
          <ac:chgData name="Fardin Salam" userId="89004a45-f843-4675-a13e-f055c58c14f0" providerId="ADAL" clId="{EC86346C-BECD-43B4-9E2D-230B8F70F74B}" dt="2024-09-12T19:21:27.424" v="1" actId="478"/>
          <ac:spMkLst>
            <pc:docMk/>
            <pc:sldMk cId="1866609057" sldId="2147483585"/>
            <ac:spMk id="69" creationId="{5EA73C37-D370-83E7-1E55-0F60301FEE86}"/>
          </ac:spMkLst>
        </pc:spChg>
        <pc:spChg chg="del">
          <ac:chgData name="Fardin Salam" userId="89004a45-f843-4675-a13e-f055c58c14f0" providerId="ADAL" clId="{EC86346C-BECD-43B4-9E2D-230B8F70F74B}" dt="2024-09-12T19:21:27.424" v="1" actId="478"/>
          <ac:spMkLst>
            <pc:docMk/>
            <pc:sldMk cId="1866609057" sldId="2147483585"/>
            <ac:spMk id="76" creationId="{26D51056-4A50-CEDE-C96D-D115CA3C2702}"/>
          </ac:spMkLst>
        </pc:spChg>
        <pc:spChg chg="del">
          <ac:chgData name="Fardin Salam" userId="89004a45-f843-4675-a13e-f055c58c14f0" providerId="ADAL" clId="{EC86346C-BECD-43B4-9E2D-230B8F70F74B}" dt="2024-09-12T19:21:27.424" v="1" actId="478"/>
          <ac:spMkLst>
            <pc:docMk/>
            <pc:sldMk cId="1866609057" sldId="2147483585"/>
            <ac:spMk id="77" creationId="{0FC366D3-7733-8C83-D675-3DE56FCF00B7}"/>
          </ac:spMkLst>
        </pc:spChg>
        <pc:spChg chg="del">
          <ac:chgData name="Fardin Salam" userId="89004a45-f843-4675-a13e-f055c58c14f0" providerId="ADAL" clId="{EC86346C-BECD-43B4-9E2D-230B8F70F74B}" dt="2024-09-12T19:21:27.424" v="1" actId="478"/>
          <ac:spMkLst>
            <pc:docMk/>
            <pc:sldMk cId="1866609057" sldId="2147483585"/>
            <ac:spMk id="78" creationId="{8C093A15-7EC7-D7BE-6B77-2FD2B1495656}"/>
          </ac:spMkLst>
        </pc:spChg>
        <pc:spChg chg="del">
          <ac:chgData name="Fardin Salam" userId="89004a45-f843-4675-a13e-f055c58c14f0" providerId="ADAL" clId="{EC86346C-BECD-43B4-9E2D-230B8F70F74B}" dt="2024-09-12T19:21:27.424" v="1" actId="478"/>
          <ac:spMkLst>
            <pc:docMk/>
            <pc:sldMk cId="1866609057" sldId="2147483585"/>
            <ac:spMk id="79" creationId="{F14BE527-138A-8091-C8C8-91BA5FCC1C96}"/>
          </ac:spMkLst>
        </pc:spChg>
        <pc:spChg chg="del">
          <ac:chgData name="Fardin Salam" userId="89004a45-f843-4675-a13e-f055c58c14f0" providerId="ADAL" clId="{EC86346C-BECD-43B4-9E2D-230B8F70F74B}" dt="2024-09-12T19:21:27.424" v="1" actId="478"/>
          <ac:spMkLst>
            <pc:docMk/>
            <pc:sldMk cId="1866609057" sldId="2147483585"/>
            <ac:spMk id="80" creationId="{FA5005C9-09C8-C64E-0CC5-FD6DF7068206}"/>
          </ac:spMkLst>
        </pc:spChg>
        <pc:spChg chg="del">
          <ac:chgData name="Fardin Salam" userId="89004a45-f843-4675-a13e-f055c58c14f0" providerId="ADAL" clId="{EC86346C-BECD-43B4-9E2D-230B8F70F74B}" dt="2024-09-12T19:21:27.424" v="1" actId="478"/>
          <ac:spMkLst>
            <pc:docMk/>
            <pc:sldMk cId="1866609057" sldId="2147483585"/>
            <ac:spMk id="81" creationId="{47EF7813-3A18-99B3-C4C3-61ADDFF777B8}"/>
          </ac:spMkLst>
        </pc:spChg>
        <pc:spChg chg="del">
          <ac:chgData name="Fardin Salam" userId="89004a45-f843-4675-a13e-f055c58c14f0" providerId="ADAL" clId="{EC86346C-BECD-43B4-9E2D-230B8F70F74B}" dt="2024-09-12T19:21:27.424" v="1" actId="478"/>
          <ac:spMkLst>
            <pc:docMk/>
            <pc:sldMk cId="1866609057" sldId="2147483585"/>
            <ac:spMk id="82" creationId="{5FAA3640-75FB-7626-F6F2-0A8F1635FBAB}"/>
          </ac:spMkLst>
        </pc:spChg>
        <pc:spChg chg="del">
          <ac:chgData name="Fardin Salam" userId="89004a45-f843-4675-a13e-f055c58c14f0" providerId="ADAL" clId="{EC86346C-BECD-43B4-9E2D-230B8F70F74B}" dt="2024-09-12T19:21:27.424" v="1" actId="478"/>
          <ac:spMkLst>
            <pc:docMk/>
            <pc:sldMk cId="1866609057" sldId="2147483585"/>
            <ac:spMk id="83" creationId="{AFF3FDE9-7ECB-5AB2-82A9-C0722634283D}"/>
          </ac:spMkLst>
        </pc:spChg>
        <pc:spChg chg="del">
          <ac:chgData name="Fardin Salam" userId="89004a45-f843-4675-a13e-f055c58c14f0" providerId="ADAL" clId="{EC86346C-BECD-43B4-9E2D-230B8F70F74B}" dt="2024-09-12T19:21:27.424" v="1" actId="478"/>
          <ac:spMkLst>
            <pc:docMk/>
            <pc:sldMk cId="1866609057" sldId="2147483585"/>
            <ac:spMk id="84" creationId="{BE53F312-5987-EDE0-68EA-903C4167666A}"/>
          </ac:spMkLst>
        </pc:spChg>
        <pc:spChg chg="del">
          <ac:chgData name="Fardin Salam" userId="89004a45-f843-4675-a13e-f055c58c14f0" providerId="ADAL" clId="{EC86346C-BECD-43B4-9E2D-230B8F70F74B}" dt="2024-09-12T19:21:27.424" v="1" actId="478"/>
          <ac:spMkLst>
            <pc:docMk/>
            <pc:sldMk cId="1866609057" sldId="2147483585"/>
            <ac:spMk id="85" creationId="{EBF565D9-98BA-8E93-FAA3-895956B706B2}"/>
          </ac:spMkLst>
        </pc:spChg>
        <pc:spChg chg="del">
          <ac:chgData name="Fardin Salam" userId="89004a45-f843-4675-a13e-f055c58c14f0" providerId="ADAL" clId="{EC86346C-BECD-43B4-9E2D-230B8F70F74B}" dt="2024-09-12T19:21:27.424" v="1" actId="478"/>
          <ac:spMkLst>
            <pc:docMk/>
            <pc:sldMk cId="1866609057" sldId="2147483585"/>
            <ac:spMk id="86" creationId="{D35CB5CD-6F03-FE28-1A53-02F2149C13BC}"/>
          </ac:spMkLst>
        </pc:spChg>
        <pc:spChg chg="del">
          <ac:chgData name="Fardin Salam" userId="89004a45-f843-4675-a13e-f055c58c14f0" providerId="ADAL" clId="{EC86346C-BECD-43B4-9E2D-230B8F70F74B}" dt="2024-09-12T19:21:27.424" v="1" actId="478"/>
          <ac:spMkLst>
            <pc:docMk/>
            <pc:sldMk cId="1866609057" sldId="2147483585"/>
            <ac:spMk id="87" creationId="{8FA97DB4-14DE-7AC4-80A2-93D75DCE39FD}"/>
          </ac:spMkLst>
        </pc:spChg>
        <pc:spChg chg="del">
          <ac:chgData name="Fardin Salam" userId="89004a45-f843-4675-a13e-f055c58c14f0" providerId="ADAL" clId="{EC86346C-BECD-43B4-9E2D-230B8F70F74B}" dt="2024-09-12T19:21:27.424" v="1" actId="478"/>
          <ac:spMkLst>
            <pc:docMk/>
            <pc:sldMk cId="1866609057" sldId="2147483585"/>
            <ac:spMk id="88" creationId="{8E429AB5-20AD-66D0-E63E-2A9E7D643877}"/>
          </ac:spMkLst>
        </pc:spChg>
        <pc:spChg chg="del">
          <ac:chgData name="Fardin Salam" userId="89004a45-f843-4675-a13e-f055c58c14f0" providerId="ADAL" clId="{EC86346C-BECD-43B4-9E2D-230B8F70F74B}" dt="2024-09-12T19:21:27.424" v="1" actId="478"/>
          <ac:spMkLst>
            <pc:docMk/>
            <pc:sldMk cId="1866609057" sldId="2147483585"/>
            <ac:spMk id="89" creationId="{2DBDE27E-3959-975D-EFBD-951BD810B468}"/>
          </ac:spMkLst>
        </pc:spChg>
        <pc:spChg chg="del">
          <ac:chgData name="Fardin Salam" userId="89004a45-f843-4675-a13e-f055c58c14f0" providerId="ADAL" clId="{EC86346C-BECD-43B4-9E2D-230B8F70F74B}" dt="2024-09-12T19:21:27.424" v="1" actId="478"/>
          <ac:spMkLst>
            <pc:docMk/>
            <pc:sldMk cId="1866609057" sldId="2147483585"/>
            <ac:spMk id="90" creationId="{1F8C9D1A-5C07-8FB7-78AD-DC09C75ACD15}"/>
          </ac:spMkLst>
        </pc:spChg>
        <pc:spChg chg="del">
          <ac:chgData name="Fardin Salam" userId="89004a45-f843-4675-a13e-f055c58c14f0" providerId="ADAL" clId="{EC86346C-BECD-43B4-9E2D-230B8F70F74B}" dt="2024-09-12T19:21:27.424" v="1" actId="478"/>
          <ac:spMkLst>
            <pc:docMk/>
            <pc:sldMk cId="1866609057" sldId="2147483585"/>
            <ac:spMk id="91" creationId="{460CAE09-B38B-E97F-1737-8CE420AC4B67}"/>
          </ac:spMkLst>
        </pc:spChg>
        <pc:spChg chg="del">
          <ac:chgData name="Fardin Salam" userId="89004a45-f843-4675-a13e-f055c58c14f0" providerId="ADAL" clId="{EC86346C-BECD-43B4-9E2D-230B8F70F74B}" dt="2024-09-12T19:21:27.424" v="1" actId="478"/>
          <ac:spMkLst>
            <pc:docMk/>
            <pc:sldMk cId="1866609057" sldId="2147483585"/>
            <ac:spMk id="92" creationId="{A316B8E4-DB95-A8CA-C88A-F27E7A1353A3}"/>
          </ac:spMkLst>
        </pc:spChg>
        <pc:spChg chg="add mod">
          <ac:chgData name="Fardin Salam" userId="89004a45-f843-4675-a13e-f055c58c14f0" providerId="ADAL" clId="{EC86346C-BECD-43B4-9E2D-230B8F70F74B}" dt="2024-09-12T19:21:51.580" v="5"/>
          <ac:spMkLst>
            <pc:docMk/>
            <pc:sldMk cId="1866609057" sldId="2147483585"/>
            <ac:spMk id="100" creationId="{7F682093-8922-039F-B8DB-0D9C9F5F6141}"/>
          </ac:spMkLst>
        </pc:spChg>
        <pc:spChg chg="add mod">
          <ac:chgData name="Fardin Salam" userId="89004a45-f843-4675-a13e-f055c58c14f0" providerId="ADAL" clId="{EC86346C-BECD-43B4-9E2D-230B8F70F74B}" dt="2024-09-12T19:21:51.580" v="5"/>
          <ac:spMkLst>
            <pc:docMk/>
            <pc:sldMk cId="1866609057" sldId="2147483585"/>
            <ac:spMk id="101" creationId="{AC073FD3-6F70-188B-92F8-0283E4771411}"/>
          </ac:spMkLst>
        </pc:spChg>
        <pc:spChg chg="add mod">
          <ac:chgData name="Fardin Salam" userId="89004a45-f843-4675-a13e-f055c58c14f0" providerId="ADAL" clId="{EC86346C-BECD-43B4-9E2D-230B8F70F74B}" dt="2024-09-12T19:21:51.580" v="5"/>
          <ac:spMkLst>
            <pc:docMk/>
            <pc:sldMk cId="1866609057" sldId="2147483585"/>
            <ac:spMk id="102" creationId="{26332BDA-4AEC-37FD-A814-1543EB7061D1}"/>
          </ac:spMkLst>
        </pc:spChg>
        <pc:spChg chg="add mod">
          <ac:chgData name="Fardin Salam" userId="89004a45-f843-4675-a13e-f055c58c14f0" providerId="ADAL" clId="{EC86346C-BECD-43B4-9E2D-230B8F70F74B}" dt="2024-09-12T19:21:51.580" v="5"/>
          <ac:spMkLst>
            <pc:docMk/>
            <pc:sldMk cId="1866609057" sldId="2147483585"/>
            <ac:spMk id="103" creationId="{6DA4F543-4795-B816-1E75-E98E956FF672}"/>
          </ac:spMkLst>
        </pc:spChg>
        <pc:spChg chg="add mod">
          <ac:chgData name="Fardin Salam" userId="89004a45-f843-4675-a13e-f055c58c14f0" providerId="ADAL" clId="{EC86346C-BECD-43B4-9E2D-230B8F70F74B}" dt="2024-09-12T19:22:00.071" v="6"/>
          <ac:spMkLst>
            <pc:docMk/>
            <pc:sldMk cId="1866609057" sldId="2147483585"/>
            <ac:spMk id="104" creationId="{2D9536ED-5A9B-C9A8-D666-7755B5D8FC24}"/>
          </ac:spMkLst>
        </pc:spChg>
        <pc:spChg chg="add mod">
          <ac:chgData name="Fardin Salam" userId="89004a45-f843-4675-a13e-f055c58c14f0" providerId="ADAL" clId="{EC86346C-BECD-43B4-9E2D-230B8F70F74B}" dt="2024-09-12T19:22:35.131" v="7" actId="207"/>
          <ac:spMkLst>
            <pc:docMk/>
            <pc:sldMk cId="1866609057" sldId="2147483585"/>
            <ac:spMk id="105" creationId="{3E06A396-30B2-7545-37A3-587514860D8B}"/>
          </ac:spMkLst>
        </pc:spChg>
        <pc:spChg chg="add mod">
          <ac:chgData name="Fardin Salam" userId="89004a45-f843-4675-a13e-f055c58c14f0" providerId="ADAL" clId="{EC86346C-BECD-43B4-9E2D-230B8F70F74B}" dt="2024-09-12T19:22:35.131" v="7" actId="207"/>
          <ac:spMkLst>
            <pc:docMk/>
            <pc:sldMk cId="1866609057" sldId="2147483585"/>
            <ac:spMk id="106" creationId="{BBBAFCF4-271F-2EB4-FEDF-64DC211F3175}"/>
          </ac:spMkLst>
        </pc:spChg>
        <pc:spChg chg="add mod">
          <ac:chgData name="Fardin Salam" userId="89004a45-f843-4675-a13e-f055c58c14f0" providerId="ADAL" clId="{EC86346C-BECD-43B4-9E2D-230B8F70F74B}" dt="2024-09-12T19:22:35.131" v="7" actId="207"/>
          <ac:spMkLst>
            <pc:docMk/>
            <pc:sldMk cId="1866609057" sldId="2147483585"/>
            <ac:spMk id="107" creationId="{8FED88CB-0EB2-7B93-9D91-8B99FEA4547A}"/>
          </ac:spMkLst>
        </pc:spChg>
        <pc:spChg chg="add mod">
          <ac:chgData name="Fardin Salam" userId="89004a45-f843-4675-a13e-f055c58c14f0" providerId="ADAL" clId="{EC86346C-BECD-43B4-9E2D-230B8F70F74B}" dt="2024-09-12T19:22:35.131" v="7" actId="207"/>
          <ac:spMkLst>
            <pc:docMk/>
            <pc:sldMk cId="1866609057" sldId="2147483585"/>
            <ac:spMk id="108" creationId="{DA695285-6EB2-A347-0FB4-50E15295BF78}"/>
          </ac:spMkLst>
        </pc:spChg>
        <pc:spChg chg="add mod">
          <ac:chgData name="Fardin Salam" userId="89004a45-f843-4675-a13e-f055c58c14f0" providerId="ADAL" clId="{EC86346C-BECD-43B4-9E2D-230B8F70F74B}" dt="2024-09-12T19:22:00.071" v="6"/>
          <ac:spMkLst>
            <pc:docMk/>
            <pc:sldMk cId="1866609057" sldId="2147483585"/>
            <ac:spMk id="109" creationId="{B161B0AB-758B-D9E8-2C74-BEB12C5A5136}"/>
          </ac:spMkLst>
        </pc:spChg>
        <pc:spChg chg="add mod">
          <ac:chgData name="Fardin Salam" userId="89004a45-f843-4675-a13e-f055c58c14f0" providerId="ADAL" clId="{EC86346C-BECD-43B4-9E2D-230B8F70F74B}" dt="2024-09-12T19:22:00.071" v="6"/>
          <ac:spMkLst>
            <pc:docMk/>
            <pc:sldMk cId="1866609057" sldId="2147483585"/>
            <ac:spMk id="110" creationId="{59E9C4D7-56FF-EF18-AA7A-D25D8D16A232}"/>
          </ac:spMkLst>
        </pc:spChg>
        <pc:spChg chg="add mod">
          <ac:chgData name="Fardin Salam" userId="89004a45-f843-4675-a13e-f055c58c14f0" providerId="ADAL" clId="{EC86346C-BECD-43B4-9E2D-230B8F70F74B}" dt="2024-09-12T19:22:00.071" v="6"/>
          <ac:spMkLst>
            <pc:docMk/>
            <pc:sldMk cId="1866609057" sldId="2147483585"/>
            <ac:spMk id="111" creationId="{B33A4109-0245-FB53-C03D-FE33594DD173}"/>
          </ac:spMkLst>
        </pc:spChg>
        <pc:spChg chg="add mod">
          <ac:chgData name="Fardin Salam" userId="89004a45-f843-4675-a13e-f055c58c14f0" providerId="ADAL" clId="{EC86346C-BECD-43B4-9E2D-230B8F70F74B}" dt="2024-09-12T19:22:00.071" v="6"/>
          <ac:spMkLst>
            <pc:docMk/>
            <pc:sldMk cId="1866609057" sldId="2147483585"/>
            <ac:spMk id="112" creationId="{FEA03860-4630-F118-6E26-A5778948D566}"/>
          </ac:spMkLst>
        </pc:spChg>
        <pc:spChg chg="add mod">
          <ac:chgData name="Fardin Salam" userId="89004a45-f843-4675-a13e-f055c58c14f0" providerId="ADAL" clId="{EC86346C-BECD-43B4-9E2D-230B8F70F74B}" dt="2024-09-12T19:22:00.071" v="6"/>
          <ac:spMkLst>
            <pc:docMk/>
            <pc:sldMk cId="1866609057" sldId="2147483585"/>
            <ac:spMk id="113" creationId="{D6598B09-4E9D-9B78-8FD9-F192BDFBF18C}"/>
          </ac:spMkLst>
        </pc:spChg>
        <pc:spChg chg="add mod">
          <ac:chgData name="Fardin Salam" userId="89004a45-f843-4675-a13e-f055c58c14f0" providerId="ADAL" clId="{EC86346C-BECD-43B4-9E2D-230B8F70F74B}" dt="2024-09-12T19:22:00.071" v="6"/>
          <ac:spMkLst>
            <pc:docMk/>
            <pc:sldMk cId="1866609057" sldId="2147483585"/>
            <ac:spMk id="114" creationId="{9A4EEC43-CE12-B54F-4CB8-98960D649D90}"/>
          </ac:spMkLst>
        </pc:spChg>
        <pc:spChg chg="add mod">
          <ac:chgData name="Fardin Salam" userId="89004a45-f843-4675-a13e-f055c58c14f0" providerId="ADAL" clId="{EC86346C-BECD-43B4-9E2D-230B8F70F74B}" dt="2024-09-12T19:22:00.071" v="6"/>
          <ac:spMkLst>
            <pc:docMk/>
            <pc:sldMk cId="1866609057" sldId="2147483585"/>
            <ac:spMk id="115" creationId="{3F86715B-3EB6-95E1-A506-09906951936E}"/>
          </ac:spMkLst>
        </pc:spChg>
        <pc:spChg chg="add mod">
          <ac:chgData name="Fardin Salam" userId="89004a45-f843-4675-a13e-f055c58c14f0" providerId="ADAL" clId="{EC86346C-BECD-43B4-9E2D-230B8F70F74B}" dt="2024-09-12T19:22:57.694" v="8" actId="207"/>
          <ac:spMkLst>
            <pc:docMk/>
            <pc:sldMk cId="1866609057" sldId="2147483585"/>
            <ac:spMk id="116" creationId="{DD2B4852-3964-1C82-B10B-837C9B5E89D1}"/>
          </ac:spMkLst>
        </pc:spChg>
        <pc:spChg chg="add mod">
          <ac:chgData name="Fardin Salam" userId="89004a45-f843-4675-a13e-f055c58c14f0" providerId="ADAL" clId="{EC86346C-BECD-43B4-9E2D-230B8F70F74B}" dt="2024-09-12T19:22:57.694" v="8" actId="207"/>
          <ac:spMkLst>
            <pc:docMk/>
            <pc:sldMk cId="1866609057" sldId="2147483585"/>
            <ac:spMk id="117" creationId="{7D1ED65F-F4DD-9314-57BF-0AC7690EE0AA}"/>
          </ac:spMkLst>
        </pc:spChg>
        <pc:spChg chg="add mod">
          <ac:chgData name="Fardin Salam" userId="89004a45-f843-4675-a13e-f055c58c14f0" providerId="ADAL" clId="{EC86346C-BECD-43B4-9E2D-230B8F70F74B}" dt="2024-09-12T19:22:57.694" v="8" actId="207"/>
          <ac:spMkLst>
            <pc:docMk/>
            <pc:sldMk cId="1866609057" sldId="2147483585"/>
            <ac:spMk id="118" creationId="{B1E4F210-03C9-9414-EDF8-0AC1DFDCF80C}"/>
          </ac:spMkLst>
        </pc:spChg>
        <pc:spChg chg="add mod">
          <ac:chgData name="Fardin Salam" userId="89004a45-f843-4675-a13e-f055c58c14f0" providerId="ADAL" clId="{EC86346C-BECD-43B4-9E2D-230B8F70F74B}" dt="2024-09-12T19:22:00.071" v="6"/>
          <ac:spMkLst>
            <pc:docMk/>
            <pc:sldMk cId="1866609057" sldId="2147483585"/>
            <ac:spMk id="125" creationId="{DDFE112C-D9B2-BC67-E88C-B9D6E1884A5B}"/>
          </ac:spMkLst>
        </pc:spChg>
        <pc:spChg chg="add mod">
          <ac:chgData name="Fardin Salam" userId="89004a45-f843-4675-a13e-f055c58c14f0" providerId="ADAL" clId="{EC86346C-BECD-43B4-9E2D-230B8F70F74B}" dt="2024-09-12T19:22:00.071" v="6"/>
          <ac:spMkLst>
            <pc:docMk/>
            <pc:sldMk cId="1866609057" sldId="2147483585"/>
            <ac:spMk id="126" creationId="{D9178C9D-53AD-77CD-374F-7A868A5D9840}"/>
          </ac:spMkLst>
        </pc:spChg>
        <pc:spChg chg="add mod">
          <ac:chgData name="Fardin Salam" userId="89004a45-f843-4675-a13e-f055c58c14f0" providerId="ADAL" clId="{EC86346C-BECD-43B4-9E2D-230B8F70F74B}" dt="2024-09-12T19:22:00.071" v="6"/>
          <ac:spMkLst>
            <pc:docMk/>
            <pc:sldMk cId="1866609057" sldId="2147483585"/>
            <ac:spMk id="127" creationId="{02DD761B-58E3-F33B-9BE7-A6F0E4F177E5}"/>
          </ac:spMkLst>
        </pc:spChg>
        <pc:spChg chg="add mod">
          <ac:chgData name="Fardin Salam" userId="89004a45-f843-4675-a13e-f055c58c14f0" providerId="ADAL" clId="{EC86346C-BECD-43B4-9E2D-230B8F70F74B}" dt="2024-09-12T19:22:00.071" v="6"/>
          <ac:spMkLst>
            <pc:docMk/>
            <pc:sldMk cId="1866609057" sldId="2147483585"/>
            <ac:spMk id="128" creationId="{F27E1A1F-1E19-A36E-7B32-67618EB431D0}"/>
          </ac:spMkLst>
        </pc:spChg>
        <pc:grpChg chg="del">
          <ac:chgData name="Fardin Salam" userId="89004a45-f843-4675-a13e-f055c58c14f0" providerId="ADAL" clId="{EC86346C-BECD-43B4-9E2D-230B8F70F74B}" dt="2024-09-12T19:21:27.424" v="1" actId="478"/>
          <ac:grpSpMkLst>
            <pc:docMk/>
            <pc:sldMk cId="1866609057" sldId="2147483585"/>
            <ac:grpSpMk id="45" creationId="{83959E9E-E21D-BC82-6A3D-F02F6B3E89D3}"/>
          </ac:grpSpMkLst>
        </pc:grpChg>
        <pc:grpChg chg="del">
          <ac:chgData name="Fardin Salam" userId="89004a45-f843-4675-a13e-f055c58c14f0" providerId="ADAL" clId="{EC86346C-BECD-43B4-9E2D-230B8F70F74B}" dt="2024-09-12T19:21:27.424" v="1" actId="478"/>
          <ac:grpSpMkLst>
            <pc:docMk/>
            <pc:sldMk cId="1866609057" sldId="2147483585"/>
            <ac:grpSpMk id="50" creationId="{ED8A645E-F9AA-9AAF-C749-8DCE3518BAF0}"/>
          </ac:grpSpMkLst>
        </pc:grpChg>
        <pc:grpChg chg="del">
          <ac:chgData name="Fardin Salam" userId="89004a45-f843-4675-a13e-f055c58c14f0" providerId="ADAL" clId="{EC86346C-BECD-43B4-9E2D-230B8F70F74B}" dt="2024-09-12T19:21:27.424" v="1" actId="478"/>
          <ac:grpSpMkLst>
            <pc:docMk/>
            <pc:sldMk cId="1866609057" sldId="2147483585"/>
            <ac:grpSpMk id="71" creationId="{20BCD12C-1438-21AB-B1D7-67F9EE0CDA6F}"/>
          </ac:grpSpMkLst>
        </pc:grpChg>
        <pc:picChg chg="add del mod">
          <ac:chgData name="Fardin Salam" userId="89004a45-f843-4675-a13e-f055c58c14f0" providerId="ADAL" clId="{EC86346C-BECD-43B4-9E2D-230B8F70F74B}" dt="2024-09-12T19:21:50.559" v="4" actId="478"/>
          <ac:picMkLst>
            <pc:docMk/>
            <pc:sldMk cId="1866609057" sldId="2147483585"/>
            <ac:picMk id="19" creationId="{CCC6F515-A10F-4A8E-6448-CD00664CDF3A}"/>
          </ac:picMkLst>
        </pc:picChg>
        <pc:picChg chg="add del mod">
          <ac:chgData name="Fardin Salam" userId="89004a45-f843-4675-a13e-f055c58c14f0" providerId="ADAL" clId="{EC86346C-BECD-43B4-9E2D-230B8F70F74B}" dt="2024-09-12T19:21:50.559" v="4" actId="478"/>
          <ac:picMkLst>
            <pc:docMk/>
            <pc:sldMk cId="1866609057" sldId="2147483585"/>
            <ac:picMk id="20" creationId="{6B324398-1D04-CF78-EE38-106366D4D4BB}"/>
          </ac:picMkLst>
        </pc:picChg>
        <pc:picChg chg="add del mod">
          <ac:chgData name="Fardin Salam" userId="89004a45-f843-4675-a13e-f055c58c14f0" providerId="ADAL" clId="{EC86346C-BECD-43B4-9E2D-230B8F70F74B}" dt="2024-09-12T19:21:50.559" v="4" actId="478"/>
          <ac:picMkLst>
            <pc:docMk/>
            <pc:sldMk cId="1866609057" sldId="2147483585"/>
            <ac:picMk id="21" creationId="{653C2F05-7C80-32EA-0076-D6D55E55D6F3}"/>
          </ac:picMkLst>
        </pc:picChg>
        <pc:picChg chg="add del mod">
          <ac:chgData name="Fardin Salam" userId="89004a45-f843-4675-a13e-f055c58c14f0" providerId="ADAL" clId="{EC86346C-BECD-43B4-9E2D-230B8F70F74B}" dt="2024-09-12T19:21:50.559" v="4" actId="478"/>
          <ac:picMkLst>
            <pc:docMk/>
            <pc:sldMk cId="1866609057" sldId="2147483585"/>
            <ac:picMk id="22" creationId="{38FD6572-C4BE-5DC1-E397-EACDBB25FE68}"/>
          </ac:picMkLst>
        </pc:picChg>
        <pc:picChg chg="add del mod">
          <ac:chgData name="Fardin Salam" userId="89004a45-f843-4675-a13e-f055c58c14f0" providerId="ADAL" clId="{EC86346C-BECD-43B4-9E2D-230B8F70F74B}" dt="2024-09-12T19:21:50.559" v="4" actId="478"/>
          <ac:picMkLst>
            <pc:docMk/>
            <pc:sldMk cId="1866609057" sldId="2147483585"/>
            <ac:picMk id="23" creationId="{105AD0F2-1D61-05FB-A49C-EC8E4D987C44}"/>
          </ac:picMkLst>
        </pc:picChg>
        <pc:picChg chg="add del mod">
          <ac:chgData name="Fardin Salam" userId="89004a45-f843-4675-a13e-f055c58c14f0" providerId="ADAL" clId="{EC86346C-BECD-43B4-9E2D-230B8F70F74B}" dt="2024-09-12T19:21:50.559" v="4" actId="478"/>
          <ac:picMkLst>
            <pc:docMk/>
            <pc:sldMk cId="1866609057" sldId="2147483585"/>
            <ac:picMk id="24" creationId="{8ABB0DFF-6C11-AEDC-B278-6C2014033A9A}"/>
          </ac:picMkLst>
        </pc:picChg>
        <pc:picChg chg="del">
          <ac:chgData name="Fardin Salam" userId="89004a45-f843-4675-a13e-f055c58c14f0" providerId="ADAL" clId="{EC86346C-BECD-43B4-9E2D-230B8F70F74B}" dt="2024-09-12T19:21:27.424" v="1" actId="478"/>
          <ac:picMkLst>
            <pc:docMk/>
            <pc:sldMk cId="1866609057" sldId="2147483585"/>
            <ac:picMk id="40" creationId="{D12062DB-3A61-03F4-B296-E6582A9000D4}"/>
          </ac:picMkLst>
        </pc:picChg>
        <pc:picChg chg="del">
          <ac:chgData name="Fardin Salam" userId="89004a45-f843-4675-a13e-f055c58c14f0" providerId="ADAL" clId="{EC86346C-BECD-43B4-9E2D-230B8F70F74B}" dt="2024-09-12T19:21:27.424" v="1" actId="478"/>
          <ac:picMkLst>
            <pc:docMk/>
            <pc:sldMk cId="1866609057" sldId="2147483585"/>
            <ac:picMk id="49" creationId="{A5E59944-AE08-EDD7-D537-2D45D1BD0BA5}"/>
          </ac:picMkLst>
        </pc:picChg>
        <pc:picChg chg="add mod">
          <ac:chgData name="Fardin Salam" userId="89004a45-f843-4675-a13e-f055c58c14f0" providerId="ADAL" clId="{EC86346C-BECD-43B4-9E2D-230B8F70F74B}" dt="2024-09-12T19:21:51.580" v="5"/>
          <ac:picMkLst>
            <pc:docMk/>
            <pc:sldMk cId="1866609057" sldId="2147483585"/>
            <ac:picMk id="54" creationId="{DD46925E-F0BB-1BE7-5A30-D971490B9081}"/>
          </ac:picMkLst>
        </pc:picChg>
        <pc:picChg chg="add mod">
          <ac:chgData name="Fardin Salam" userId="89004a45-f843-4675-a13e-f055c58c14f0" providerId="ADAL" clId="{EC86346C-BECD-43B4-9E2D-230B8F70F74B}" dt="2024-09-12T19:21:51.580" v="5"/>
          <ac:picMkLst>
            <pc:docMk/>
            <pc:sldMk cId="1866609057" sldId="2147483585"/>
            <ac:picMk id="55" creationId="{66C9CFCF-3CC2-6A51-CF1A-FA087A06A601}"/>
          </ac:picMkLst>
        </pc:picChg>
        <pc:picChg chg="add mod">
          <ac:chgData name="Fardin Salam" userId="89004a45-f843-4675-a13e-f055c58c14f0" providerId="ADAL" clId="{EC86346C-BECD-43B4-9E2D-230B8F70F74B}" dt="2024-09-12T19:21:51.580" v="5"/>
          <ac:picMkLst>
            <pc:docMk/>
            <pc:sldMk cId="1866609057" sldId="2147483585"/>
            <ac:picMk id="56" creationId="{38F5EC0D-A3EC-C051-618B-B86A4ACD1F58}"/>
          </ac:picMkLst>
        </pc:picChg>
        <pc:picChg chg="del">
          <ac:chgData name="Fardin Salam" userId="89004a45-f843-4675-a13e-f055c58c14f0" providerId="ADAL" clId="{EC86346C-BECD-43B4-9E2D-230B8F70F74B}" dt="2024-09-12T19:21:27.424" v="1" actId="478"/>
          <ac:picMkLst>
            <pc:docMk/>
            <pc:sldMk cId="1866609057" sldId="2147483585"/>
            <ac:picMk id="70" creationId="{63BE42AC-5C2B-C599-B2FD-CC36AC1BCE7E}"/>
          </ac:picMkLst>
        </pc:picChg>
        <pc:picChg chg="del">
          <ac:chgData name="Fardin Salam" userId="89004a45-f843-4675-a13e-f055c58c14f0" providerId="ADAL" clId="{EC86346C-BECD-43B4-9E2D-230B8F70F74B}" dt="2024-09-12T19:21:27.424" v="1" actId="478"/>
          <ac:picMkLst>
            <pc:docMk/>
            <pc:sldMk cId="1866609057" sldId="2147483585"/>
            <ac:picMk id="75" creationId="{C509F6E0-F595-BD41-5447-0F7B82ADF147}"/>
          </ac:picMkLst>
        </pc:picChg>
        <pc:picChg chg="del">
          <ac:chgData name="Fardin Salam" userId="89004a45-f843-4675-a13e-f055c58c14f0" providerId="ADAL" clId="{EC86346C-BECD-43B4-9E2D-230B8F70F74B}" dt="2024-09-12T19:21:27.424" v="1" actId="478"/>
          <ac:picMkLst>
            <pc:docMk/>
            <pc:sldMk cId="1866609057" sldId="2147483585"/>
            <ac:picMk id="93" creationId="{A4C0D1E2-5BC7-E4A1-296B-BF13CCE8B446}"/>
          </ac:picMkLst>
        </pc:picChg>
        <pc:picChg chg="del">
          <ac:chgData name="Fardin Salam" userId="89004a45-f843-4675-a13e-f055c58c14f0" providerId="ADAL" clId="{EC86346C-BECD-43B4-9E2D-230B8F70F74B}" dt="2024-09-12T19:21:27.424" v="1" actId="478"/>
          <ac:picMkLst>
            <pc:docMk/>
            <pc:sldMk cId="1866609057" sldId="2147483585"/>
            <ac:picMk id="94" creationId="{0181A6F4-7A40-10EF-615A-9875EE2A0159}"/>
          </ac:picMkLst>
        </pc:picChg>
        <pc:picChg chg="del">
          <ac:chgData name="Fardin Salam" userId="89004a45-f843-4675-a13e-f055c58c14f0" providerId="ADAL" clId="{EC86346C-BECD-43B4-9E2D-230B8F70F74B}" dt="2024-09-12T19:21:27.424" v="1" actId="478"/>
          <ac:picMkLst>
            <pc:docMk/>
            <pc:sldMk cId="1866609057" sldId="2147483585"/>
            <ac:picMk id="95" creationId="{00C55EEE-B2DE-EEBF-623F-A9630F6A1DBE}"/>
          </ac:picMkLst>
        </pc:picChg>
        <pc:picChg chg="del">
          <ac:chgData name="Fardin Salam" userId="89004a45-f843-4675-a13e-f055c58c14f0" providerId="ADAL" clId="{EC86346C-BECD-43B4-9E2D-230B8F70F74B}" dt="2024-09-12T19:21:27.424" v="1" actId="478"/>
          <ac:picMkLst>
            <pc:docMk/>
            <pc:sldMk cId="1866609057" sldId="2147483585"/>
            <ac:picMk id="96" creationId="{3715A5FA-E082-0CA3-FF2A-5B81BD9D9D7A}"/>
          </ac:picMkLst>
        </pc:picChg>
        <pc:picChg chg="add mod">
          <ac:chgData name="Fardin Salam" userId="89004a45-f843-4675-a13e-f055c58c14f0" providerId="ADAL" clId="{EC86346C-BECD-43B4-9E2D-230B8F70F74B}" dt="2024-09-12T19:21:51.580" v="5"/>
          <ac:picMkLst>
            <pc:docMk/>
            <pc:sldMk cId="1866609057" sldId="2147483585"/>
            <ac:picMk id="97" creationId="{DB02892F-3A07-20C6-4312-463F2C895127}"/>
          </ac:picMkLst>
        </pc:picChg>
        <pc:picChg chg="add mod">
          <ac:chgData name="Fardin Salam" userId="89004a45-f843-4675-a13e-f055c58c14f0" providerId="ADAL" clId="{EC86346C-BECD-43B4-9E2D-230B8F70F74B}" dt="2024-09-12T19:21:51.580" v="5"/>
          <ac:picMkLst>
            <pc:docMk/>
            <pc:sldMk cId="1866609057" sldId="2147483585"/>
            <ac:picMk id="98" creationId="{8DCA8F95-8FC3-55A2-5C7C-320B7D4FB1D9}"/>
          </ac:picMkLst>
        </pc:picChg>
        <pc:picChg chg="add mod">
          <ac:chgData name="Fardin Salam" userId="89004a45-f843-4675-a13e-f055c58c14f0" providerId="ADAL" clId="{EC86346C-BECD-43B4-9E2D-230B8F70F74B}" dt="2024-09-12T19:21:51.580" v="5"/>
          <ac:picMkLst>
            <pc:docMk/>
            <pc:sldMk cId="1866609057" sldId="2147483585"/>
            <ac:picMk id="99" creationId="{FD14318C-A6DF-73C6-ADFD-844D940094DF}"/>
          </ac:picMkLst>
        </pc:picChg>
        <pc:picChg chg="add mod">
          <ac:chgData name="Fardin Salam" userId="89004a45-f843-4675-a13e-f055c58c14f0" providerId="ADAL" clId="{EC86346C-BECD-43B4-9E2D-230B8F70F74B}" dt="2024-09-12T19:22:00.071" v="6"/>
          <ac:picMkLst>
            <pc:docMk/>
            <pc:sldMk cId="1866609057" sldId="2147483585"/>
            <ac:picMk id="119" creationId="{ECE0CBD8-5108-346D-40B1-96DF89612123}"/>
          </ac:picMkLst>
        </pc:picChg>
        <pc:picChg chg="add mod">
          <ac:chgData name="Fardin Salam" userId="89004a45-f843-4675-a13e-f055c58c14f0" providerId="ADAL" clId="{EC86346C-BECD-43B4-9E2D-230B8F70F74B}" dt="2024-09-12T19:22:00.071" v="6"/>
          <ac:picMkLst>
            <pc:docMk/>
            <pc:sldMk cId="1866609057" sldId="2147483585"/>
            <ac:picMk id="120" creationId="{6CCB2DBB-A679-5D78-2CAA-B90DB1FB0488}"/>
          </ac:picMkLst>
        </pc:picChg>
        <pc:picChg chg="add mod">
          <ac:chgData name="Fardin Salam" userId="89004a45-f843-4675-a13e-f055c58c14f0" providerId="ADAL" clId="{EC86346C-BECD-43B4-9E2D-230B8F70F74B}" dt="2024-09-12T19:22:00.071" v="6"/>
          <ac:picMkLst>
            <pc:docMk/>
            <pc:sldMk cId="1866609057" sldId="2147483585"/>
            <ac:picMk id="121" creationId="{E695930C-C21C-A565-57A3-5BB3A7E1447E}"/>
          </ac:picMkLst>
        </pc:picChg>
        <pc:picChg chg="add mod">
          <ac:chgData name="Fardin Salam" userId="89004a45-f843-4675-a13e-f055c58c14f0" providerId="ADAL" clId="{EC86346C-BECD-43B4-9E2D-230B8F70F74B}" dt="2024-09-12T19:22:00.071" v="6"/>
          <ac:picMkLst>
            <pc:docMk/>
            <pc:sldMk cId="1866609057" sldId="2147483585"/>
            <ac:picMk id="122" creationId="{304200CA-BD03-0A47-914E-7A435C3DE092}"/>
          </ac:picMkLst>
        </pc:picChg>
        <pc:picChg chg="add mod">
          <ac:chgData name="Fardin Salam" userId="89004a45-f843-4675-a13e-f055c58c14f0" providerId="ADAL" clId="{EC86346C-BECD-43B4-9E2D-230B8F70F74B}" dt="2024-09-12T19:22:00.071" v="6"/>
          <ac:picMkLst>
            <pc:docMk/>
            <pc:sldMk cId="1866609057" sldId="2147483585"/>
            <ac:picMk id="123" creationId="{F35882AE-ABAA-CA62-E831-96BAA2396C7E}"/>
          </ac:picMkLst>
        </pc:picChg>
        <pc:picChg chg="add mod">
          <ac:chgData name="Fardin Salam" userId="89004a45-f843-4675-a13e-f055c58c14f0" providerId="ADAL" clId="{EC86346C-BECD-43B4-9E2D-230B8F70F74B}" dt="2024-09-12T19:22:00.071" v="6"/>
          <ac:picMkLst>
            <pc:docMk/>
            <pc:sldMk cId="1866609057" sldId="2147483585"/>
            <ac:picMk id="124" creationId="{DCC1CE4B-4A76-1CBF-BA8F-774E15D631FF}"/>
          </ac:picMkLst>
        </pc:picChg>
      </pc:sldChg>
      <pc:sldChg chg="del">
        <pc:chgData name="Fardin Salam" userId="89004a45-f843-4675-a13e-f055c58c14f0" providerId="ADAL" clId="{EC86346C-BECD-43B4-9E2D-230B8F70F74B}" dt="2024-09-12T19:24:30.953" v="15" actId="47"/>
        <pc:sldMkLst>
          <pc:docMk/>
          <pc:sldMk cId="3607093747" sldId="2147483586"/>
        </pc:sldMkLst>
      </pc:sldChg>
      <pc:sldChg chg="addSp delSp modSp mod">
        <pc:chgData name="Fardin Salam" userId="89004a45-f843-4675-a13e-f055c58c14f0" providerId="ADAL" clId="{EC86346C-BECD-43B4-9E2D-230B8F70F74B}" dt="2024-09-12T19:24:38.467" v="16" actId="207"/>
        <pc:sldMkLst>
          <pc:docMk/>
          <pc:sldMk cId="2304678014" sldId="2147483587"/>
        </pc:sldMkLst>
        <pc:spChg chg="del">
          <ac:chgData name="Fardin Salam" userId="89004a45-f843-4675-a13e-f055c58c14f0" providerId="ADAL" clId="{EC86346C-BECD-43B4-9E2D-230B8F70F74B}" dt="2024-09-12T19:24:11.546" v="11" actId="478"/>
          <ac:spMkLst>
            <pc:docMk/>
            <pc:sldMk cId="2304678014" sldId="2147483587"/>
            <ac:spMk id="2" creationId="{00636FFB-D7C5-54CC-217F-6E8847DE0C80}"/>
          </ac:spMkLst>
        </pc:spChg>
        <pc:spChg chg="add del mod">
          <ac:chgData name="Fardin Salam" userId="89004a45-f843-4675-a13e-f055c58c14f0" providerId="ADAL" clId="{EC86346C-BECD-43B4-9E2D-230B8F70F74B}" dt="2024-09-12T19:24:12.198" v="12" actId="478"/>
          <ac:spMkLst>
            <pc:docMk/>
            <pc:sldMk cId="2304678014" sldId="2147483587"/>
            <ac:spMk id="4" creationId="{DB37BD25-8B84-D402-0120-740D919D8E28}"/>
          </ac:spMkLst>
        </pc:spChg>
        <pc:spChg chg="add mod">
          <ac:chgData name="Fardin Salam" userId="89004a45-f843-4675-a13e-f055c58c14f0" providerId="ADAL" clId="{EC86346C-BECD-43B4-9E2D-230B8F70F74B}" dt="2024-09-12T19:24:19.910" v="13"/>
          <ac:spMkLst>
            <pc:docMk/>
            <pc:sldMk cId="2304678014" sldId="2147483587"/>
            <ac:spMk id="5" creationId="{DAB35EEA-945F-85FC-B5D7-35D833F93B74}"/>
          </ac:spMkLst>
        </pc:spChg>
        <pc:spChg chg="add mod">
          <ac:chgData name="Fardin Salam" userId="89004a45-f843-4675-a13e-f055c58c14f0" providerId="ADAL" clId="{EC86346C-BECD-43B4-9E2D-230B8F70F74B}" dt="2024-09-12T19:24:19.910" v="13"/>
          <ac:spMkLst>
            <pc:docMk/>
            <pc:sldMk cId="2304678014" sldId="2147483587"/>
            <ac:spMk id="6" creationId="{B7B6C816-241E-C6C7-B76D-9222158A834E}"/>
          </ac:spMkLst>
        </pc:spChg>
        <pc:spChg chg="add mod">
          <ac:chgData name="Fardin Salam" userId="89004a45-f843-4675-a13e-f055c58c14f0" providerId="ADAL" clId="{EC86346C-BECD-43B4-9E2D-230B8F70F74B}" dt="2024-09-12T19:24:19.910" v="13"/>
          <ac:spMkLst>
            <pc:docMk/>
            <pc:sldMk cId="2304678014" sldId="2147483587"/>
            <ac:spMk id="7" creationId="{64711938-F7D1-8E29-1913-0F88E08FBC42}"/>
          </ac:spMkLst>
        </pc:spChg>
        <pc:spChg chg="add mod">
          <ac:chgData name="Fardin Salam" userId="89004a45-f843-4675-a13e-f055c58c14f0" providerId="ADAL" clId="{EC86346C-BECD-43B4-9E2D-230B8F70F74B}" dt="2024-09-12T19:24:19.910" v="13"/>
          <ac:spMkLst>
            <pc:docMk/>
            <pc:sldMk cId="2304678014" sldId="2147483587"/>
            <ac:spMk id="8" creationId="{3D941369-F7A8-4717-4E4D-D2132C550A55}"/>
          </ac:spMkLst>
        </pc:spChg>
        <pc:spChg chg="mod">
          <ac:chgData name="Fardin Salam" userId="89004a45-f843-4675-a13e-f055c58c14f0" providerId="ADAL" clId="{EC86346C-BECD-43B4-9E2D-230B8F70F74B}" dt="2024-09-12T19:24:19.910" v="13"/>
          <ac:spMkLst>
            <pc:docMk/>
            <pc:sldMk cId="2304678014" sldId="2147483587"/>
            <ac:spMk id="10" creationId="{0850C9E5-8BA8-CB04-F781-B81B54C3B364}"/>
          </ac:spMkLst>
        </pc:spChg>
        <pc:spChg chg="add mod">
          <ac:chgData name="Fardin Salam" userId="89004a45-f843-4675-a13e-f055c58c14f0" providerId="ADAL" clId="{EC86346C-BECD-43B4-9E2D-230B8F70F74B}" dt="2024-09-12T19:24:19.910" v="13"/>
          <ac:spMkLst>
            <pc:docMk/>
            <pc:sldMk cId="2304678014" sldId="2147483587"/>
            <ac:spMk id="12" creationId="{A0F3B06E-E8A1-0424-CAEB-C399703CFA97}"/>
          </ac:spMkLst>
        </pc:spChg>
        <pc:spChg chg="add mod">
          <ac:chgData name="Fardin Salam" userId="89004a45-f843-4675-a13e-f055c58c14f0" providerId="ADAL" clId="{EC86346C-BECD-43B4-9E2D-230B8F70F74B}" dt="2024-09-12T19:24:19.910" v="13"/>
          <ac:spMkLst>
            <pc:docMk/>
            <pc:sldMk cId="2304678014" sldId="2147483587"/>
            <ac:spMk id="13" creationId="{AC7531EC-2B9E-0D2C-76D8-305F8E9C4B06}"/>
          </ac:spMkLst>
        </pc:spChg>
        <pc:spChg chg="add mod">
          <ac:chgData name="Fardin Salam" userId="89004a45-f843-4675-a13e-f055c58c14f0" providerId="ADAL" clId="{EC86346C-BECD-43B4-9E2D-230B8F70F74B}" dt="2024-09-12T19:24:19.910" v="13"/>
          <ac:spMkLst>
            <pc:docMk/>
            <pc:sldMk cId="2304678014" sldId="2147483587"/>
            <ac:spMk id="14" creationId="{D5DBA441-5B3B-BC03-EF20-14D23BEE8D9C}"/>
          </ac:spMkLst>
        </pc:spChg>
        <pc:spChg chg="add mod">
          <ac:chgData name="Fardin Salam" userId="89004a45-f843-4675-a13e-f055c58c14f0" providerId="ADAL" clId="{EC86346C-BECD-43B4-9E2D-230B8F70F74B}" dt="2024-09-12T19:24:19.910" v="13"/>
          <ac:spMkLst>
            <pc:docMk/>
            <pc:sldMk cId="2304678014" sldId="2147483587"/>
            <ac:spMk id="15" creationId="{C8FF9F84-20B6-DE4F-5401-5C12636470BC}"/>
          </ac:spMkLst>
        </pc:spChg>
        <pc:spChg chg="add mod">
          <ac:chgData name="Fardin Salam" userId="89004a45-f843-4675-a13e-f055c58c14f0" providerId="ADAL" clId="{EC86346C-BECD-43B4-9E2D-230B8F70F74B}" dt="2024-09-12T19:24:19.910" v="13"/>
          <ac:spMkLst>
            <pc:docMk/>
            <pc:sldMk cId="2304678014" sldId="2147483587"/>
            <ac:spMk id="16" creationId="{CE802FB0-E83E-E683-D0D3-45C19D0E76DE}"/>
          </ac:spMkLst>
        </pc:spChg>
        <pc:spChg chg="add mod">
          <ac:chgData name="Fardin Salam" userId="89004a45-f843-4675-a13e-f055c58c14f0" providerId="ADAL" clId="{EC86346C-BECD-43B4-9E2D-230B8F70F74B}" dt="2024-09-12T19:24:19.910" v="13"/>
          <ac:spMkLst>
            <pc:docMk/>
            <pc:sldMk cId="2304678014" sldId="2147483587"/>
            <ac:spMk id="17" creationId="{B1DC313F-53D3-B98B-06B1-1AEBC3656AE0}"/>
          </ac:spMkLst>
        </pc:spChg>
        <pc:spChg chg="add mod">
          <ac:chgData name="Fardin Salam" userId="89004a45-f843-4675-a13e-f055c58c14f0" providerId="ADAL" clId="{EC86346C-BECD-43B4-9E2D-230B8F70F74B}" dt="2024-09-12T19:24:19.910" v="13"/>
          <ac:spMkLst>
            <pc:docMk/>
            <pc:sldMk cId="2304678014" sldId="2147483587"/>
            <ac:spMk id="18" creationId="{7F19A1D5-7627-9B46-F397-A5989FD6A227}"/>
          </ac:spMkLst>
        </pc:spChg>
        <pc:spChg chg="add mod">
          <ac:chgData name="Fardin Salam" userId="89004a45-f843-4675-a13e-f055c58c14f0" providerId="ADAL" clId="{EC86346C-BECD-43B4-9E2D-230B8F70F74B}" dt="2024-09-12T19:24:19.910" v="13"/>
          <ac:spMkLst>
            <pc:docMk/>
            <pc:sldMk cId="2304678014" sldId="2147483587"/>
            <ac:spMk id="19" creationId="{7235FAB9-F23B-B65E-9022-A4192B84BA40}"/>
          </ac:spMkLst>
        </pc:spChg>
        <pc:spChg chg="add mod">
          <ac:chgData name="Fardin Salam" userId="89004a45-f843-4675-a13e-f055c58c14f0" providerId="ADAL" clId="{EC86346C-BECD-43B4-9E2D-230B8F70F74B}" dt="2024-09-12T19:24:19.910" v="13"/>
          <ac:spMkLst>
            <pc:docMk/>
            <pc:sldMk cId="2304678014" sldId="2147483587"/>
            <ac:spMk id="20" creationId="{10895869-09EF-84AB-BB3C-008985754203}"/>
          </ac:spMkLst>
        </pc:spChg>
        <pc:spChg chg="del">
          <ac:chgData name="Fardin Salam" userId="89004a45-f843-4675-a13e-f055c58c14f0" providerId="ADAL" clId="{EC86346C-BECD-43B4-9E2D-230B8F70F74B}" dt="2024-09-12T19:24:09.394" v="10" actId="478"/>
          <ac:spMkLst>
            <pc:docMk/>
            <pc:sldMk cId="2304678014" sldId="2147483587"/>
            <ac:spMk id="22" creationId="{57D103F2-EF61-DE93-BFBD-AB8BAE23AAAF}"/>
          </ac:spMkLst>
        </pc:spChg>
        <pc:spChg chg="del">
          <ac:chgData name="Fardin Salam" userId="89004a45-f843-4675-a13e-f055c58c14f0" providerId="ADAL" clId="{EC86346C-BECD-43B4-9E2D-230B8F70F74B}" dt="2024-09-12T19:24:09.394" v="10" actId="478"/>
          <ac:spMkLst>
            <pc:docMk/>
            <pc:sldMk cId="2304678014" sldId="2147483587"/>
            <ac:spMk id="23" creationId="{08704BCB-E2C1-6108-2A63-8B583D944299}"/>
          </ac:spMkLst>
        </pc:spChg>
        <pc:spChg chg="del">
          <ac:chgData name="Fardin Salam" userId="89004a45-f843-4675-a13e-f055c58c14f0" providerId="ADAL" clId="{EC86346C-BECD-43B4-9E2D-230B8F70F74B}" dt="2024-09-12T19:24:09.394" v="10" actId="478"/>
          <ac:spMkLst>
            <pc:docMk/>
            <pc:sldMk cId="2304678014" sldId="2147483587"/>
            <ac:spMk id="24" creationId="{307CD5C2-075B-CC27-986E-B6C7A518BD23}"/>
          </ac:spMkLst>
        </pc:spChg>
        <pc:spChg chg="del">
          <ac:chgData name="Fardin Salam" userId="89004a45-f843-4675-a13e-f055c58c14f0" providerId="ADAL" clId="{EC86346C-BECD-43B4-9E2D-230B8F70F74B}" dt="2024-09-12T19:24:09.394" v="10" actId="478"/>
          <ac:spMkLst>
            <pc:docMk/>
            <pc:sldMk cId="2304678014" sldId="2147483587"/>
            <ac:spMk id="25" creationId="{C4D84840-361D-5295-CF89-C917F9DD977E}"/>
          </ac:spMkLst>
        </pc:spChg>
        <pc:spChg chg="del">
          <ac:chgData name="Fardin Salam" userId="89004a45-f843-4675-a13e-f055c58c14f0" providerId="ADAL" clId="{EC86346C-BECD-43B4-9E2D-230B8F70F74B}" dt="2024-09-12T19:24:09.394" v="10" actId="478"/>
          <ac:spMkLst>
            <pc:docMk/>
            <pc:sldMk cId="2304678014" sldId="2147483587"/>
            <ac:spMk id="26" creationId="{839302F0-4E63-C8BF-2D08-68FB981E3922}"/>
          </ac:spMkLst>
        </pc:spChg>
        <pc:spChg chg="del">
          <ac:chgData name="Fardin Salam" userId="89004a45-f843-4675-a13e-f055c58c14f0" providerId="ADAL" clId="{EC86346C-BECD-43B4-9E2D-230B8F70F74B}" dt="2024-09-12T19:24:09.394" v="10" actId="478"/>
          <ac:spMkLst>
            <pc:docMk/>
            <pc:sldMk cId="2304678014" sldId="2147483587"/>
            <ac:spMk id="27" creationId="{D9AB6657-A24F-1009-283B-40D2E0828463}"/>
          </ac:spMkLst>
        </pc:spChg>
        <pc:spChg chg="del">
          <ac:chgData name="Fardin Salam" userId="89004a45-f843-4675-a13e-f055c58c14f0" providerId="ADAL" clId="{EC86346C-BECD-43B4-9E2D-230B8F70F74B}" dt="2024-09-12T19:24:09.394" v="10" actId="478"/>
          <ac:spMkLst>
            <pc:docMk/>
            <pc:sldMk cId="2304678014" sldId="2147483587"/>
            <ac:spMk id="28" creationId="{E7317306-51B1-51A6-3CFC-4302D44F1A1E}"/>
          </ac:spMkLst>
        </pc:spChg>
        <pc:spChg chg="del">
          <ac:chgData name="Fardin Salam" userId="89004a45-f843-4675-a13e-f055c58c14f0" providerId="ADAL" clId="{EC86346C-BECD-43B4-9E2D-230B8F70F74B}" dt="2024-09-12T19:24:09.394" v="10" actId="478"/>
          <ac:spMkLst>
            <pc:docMk/>
            <pc:sldMk cId="2304678014" sldId="2147483587"/>
            <ac:spMk id="29" creationId="{9EFCD56C-FB2B-088D-DF82-C5E2C620C97D}"/>
          </ac:spMkLst>
        </pc:spChg>
        <pc:spChg chg="del">
          <ac:chgData name="Fardin Salam" userId="89004a45-f843-4675-a13e-f055c58c14f0" providerId="ADAL" clId="{EC86346C-BECD-43B4-9E2D-230B8F70F74B}" dt="2024-09-12T19:24:09.394" v="10" actId="478"/>
          <ac:spMkLst>
            <pc:docMk/>
            <pc:sldMk cId="2304678014" sldId="2147483587"/>
            <ac:spMk id="30" creationId="{DECF450F-577D-5C58-5B2B-5C4B932729DB}"/>
          </ac:spMkLst>
        </pc:spChg>
        <pc:spChg chg="del">
          <ac:chgData name="Fardin Salam" userId="89004a45-f843-4675-a13e-f055c58c14f0" providerId="ADAL" clId="{EC86346C-BECD-43B4-9E2D-230B8F70F74B}" dt="2024-09-12T19:24:09.394" v="10" actId="478"/>
          <ac:spMkLst>
            <pc:docMk/>
            <pc:sldMk cId="2304678014" sldId="2147483587"/>
            <ac:spMk id="31" creationId="{26F35D44-4BB9-F216-7C0E-EAF9D8861F78}"/>
          </ac:spMkLst>
        </pc:spChg>
        <pc:spChg chg="del">
          <ac:chgData name="Fardin Salam" userId="89004a45-f843-4675-a13e-f055c58c14f0" providerId="ADAL" clId="{EC86346C-BECD-43B4-9E2D-230B8F70F74B}" dt="2024-09-12T19:24:09.394" v="10" actId="478"/>
          <ac:spMkLst>
            <pc:docMk/>
            <pc:sldMk cId="2304678014" sldId="2147483587"/>
            <ac:spMk id="32" creationId="{36BB7B70-A255-4C7D-F425-A2F500B28813}"/>
          </ac:spMkLst>
        </pc:spChg>
        <pc:spChg chg="del">
          <ac:chgData name="Fardin Salam" userId="89004a45-f843-4675-a13e-f055c58c14f0" providerId="ADAL" clId="{EC86346C-BECD-43B4-9E2D-230B8F70F74B}" dt="2024-09-12T19:24:09.394" v="10" actId="478"/>
          <ac:spMkLst>
            <pc:docMk/>
            <pc:sldMk cId="2304678014" sldId="2147483587"/>
            <ac:spMk id="33" creationId="{8F86D694-4EBE-763E-6E5A-BE0243A11B3C}"/>
          </ac:spMkLst>
        </pc:spChg>
        <pc:spChg chg="del">
          <ac:chgData name="Fardin Salam" userId="89004a45-f843-4675-a13e-f055c58c14f0" providerId="ADAL" clId="{EC86346C-BECD-43B4-9E2D-230B8F70F74B}" dt="2024-09-12T19:24:09.394" v="10" actId="478"/>
          <ac:spMkLst>
            <pc:docMk/>
            <pc:sldMk cId="2304678014" sldId="2147483587"/>
            <ac:spMk id="34" creationId="{AC2D2024-7C31-DF3F-0259-0B747782BAAB}"/>
          </ac:spMkLst>
        </pc:spChg>
        <pc:spChg chg="del">
          <ac:chgData name="Fardin Salam" userId="89004a45-f843-4675-a13e-f055c58c14f0" providerId="ADAL" clId="{EC86346C-BECD-43B4-9E2D-230B8F70F74B}" dt="2024-09-12T19:24:09.394" v="10" actId="478"/>
          <ac:spMkLst>
            <pc:docMk/>
            <pc:sldMk cId="2304678014" sldId="2147483587"/>
            <ac:spMk id="35" creationId="{B5979530-8339-F1C0-960A-63D1B6ABBA5B}"/>
          </ac:spMkLst>
        </pc:spChg>
        <pc:spChg chg="del">
          <ac:chgData name="Fardin Salam" userId="89004a45-f843-4675-a13e-f055c58c14f0" providerId="ADAL" clId="{EC86346C-BECD-43B4-9E2D-230B8F70F74B}" dt="2024-09-12T19:24:09.394" v="10" actId="478"/>
          <ac:spMkLst>
            <pc:docMk/>
            <pc:sldMk cId="2304678014" sldId="2147483587"/>
            <ac:spMk id="36" creationId="{FC3D2665-0A46-6E72-385B-DD618977BB13}"/>
          </ac:spMkLst>
        </pc:spChg>
        <pc:spChg chg="mod">
          <ac:chgData name="Fardin Salam" userId="89004a45-f843-4675-a13e-f055c58c14f0" providerId="ADAL" clId="{EC86346C-BECD-43B4-9E2D-230B8F70F74B}" dt="2024-09-12T19:24:19.910" v="13"/>
          <ac:spMkLst>
            <pc:docMk/>
            <pc:sldMk cId="2304678014" sldId="2147483587"/>
            <ac:spMk id="43" creationId="{F541B264-3499-7B2F-63F5-DFBDE9E900CD}"/>
          </ac:spMkLst>
        </pc:spChg>
        <pc:spChg chg="add mod">
          <ac:chgData name="Fardin Salam" userId="89004a45-f843-4675-a13e-f055c58c14f0" providerId="ADAL" clId="{EC86346C-BECD-43B4-9E2D-230B8F70F74B}" dt="2024-09-12T19:24:19.910" v="13"/>
          <ac:spMkLst>
            <pc:docMk/>
            <pc:sldMk cId="2304678014" sldId="2147483587"/>
            <ac:spMk id="46" creationId="{406ABE25-6F61-CC38-9A41-1A4895936795}"/>
          </ac:spMkLst>
        </pc:spChg>
        <pc:spChg chg="add mod">
          <ac:chgData name="Fardin Salam" userId="89004a45-f843-4675-a13e-f055c58c14f0" providerId="ADAL" clId="{EC86346C-BECD-43B4-9E2D-230B8F70F74B}" dt="2024-09-12T19:24:19.910" v="13"/>
          <ac:spMkLst>
            <pc:docMk/>
            <pc:sldMk cId="2304678014" sldId="2147483587"/>
            <ac:spMk id="47" creationId="{3C1B1C61-1B0C-01C4-8583-2AA962284339}"/>
          </ac:spMkLst>
        </pc:spChg>
        <pc:spChg chg="add mod">
          <ac:chgData name="Fardin Salam" userId="89004a45-f843-4675-a13e-f055c58c14f0" providerId="ADAL" clId="{EC86346C-BECD-43B4-9E2D-230B8F70F74B}" dt="2024-09-12T19:24:38.467" v="16" actId="207"/>
          <ac:spMkLst>
            <pc:docMk/>
            <pc:sldMk cId="2304678014" sldId="2147483587"/>
            <ac:spMk id="48" creationId="{A1CC8C08-8B8F-65BC-5ADB-7C6B0138F3EE}"/>
          </ac:spMkLst>
        </pc:spChg>
        <pc:grpChg chg="add mod">
          <ac:chgData name="Fardin Salam" userId="89004a45-f843-4675-a13e-f055c58c14f0" providerId="ADAL" clId="{EC86346C-BECD-43B4-9E2D-230B8F70F74B}" dt="2024-09-12T19:24:19.910" v="13"/>
          <ac:grpSpMkLst>
            <pc:docMk/>
            <pc:sldMk cId="2304678014" sldId="2147483587"/>
            <ac:grpSpMk id="9" creationId="{072EC19F-733E-E097-F3BC-A411B8DCF962}"/>
          </ac:grpSpMkLst>
        </pc:grpChg>
        <pc:grpChg chg="add mod">
          <ac:chgData name="Fardin Salam" userId="89004a45-f843-4675-a13e-f055c58c14f0" providerId="ADAL" clId="{EC86346C-BECD-43B4-9E2D-230B8F70F74B}" dt="2024-09-12T19:24:19.910" v="13"/>
          <ac:grpSpMkLst>
            <pc:docMk/>
            <pc:sldMk cId="2304678014" sldId="2147483587"/>
            <ac:grpSpMk id="42" creationId="{096803F1-7282-281C-3F7F-93E159B62883}"/>
          </ac:grpSpMkLst>
        </pc:grpChg>
        <pc:picChg chg="mod">
          <ac:chgData name="Fardin Salam" userId="89004a45-f843-4675-a13e-f055c58c14f0" providerId="ADAL" clId="{EC86346C-BECD-43B4-9E2D-230B8F70F74B}" dt="2024-09-12T19:24:19.910" v="13"/>
          <ac:picMkLst>
            <pc:docMk/>
            <pc:sldMk cId="2304678014" sldId="2147483587"/>
            <ac:picMk id="11" creationId="{FD662642-C5FF-81D6-8EFE-B13096CD594E}"/>
          </ac:picMkLst>
        </pc:picChg>
        <pc:picChg chg="del">
          <ac:chgData name="Fardin Salam" userId="89004a45-f843-4675-a13e-f055c58c14f0" providerId="ADAL" clId="{EC86346C-BECD-43B4-9E2D-230B8F70F74B}" dt="2024-09-12T19:24:09.394" v="10" actId="478"/>
          <ac:picMkLst>
            <pc:docMk/>
            <pc:sldMk cId="2304678014" sldId="2147483587"/>
            <ac:picMk id="21" creationId="{4F0D8BA1-D4AC-270E-04C5-8DFECAA14E45}"/>
          </ac:picMkLst>
        </pc:picChg>
        <pc:picChg chg="del">
          <ac:chgData name="Fardin Salam" userId="89004a45-f843-4675-a13e-f055c58c14f0" providerId="ADAL" clId="{EC86346C-BECD-43B4-9E2D-230B8F70F74B}" dt="2024-09-12T19:24:09.394" v="10" actId="478"/>
          <ac:picMkLst>
            <pc:docMk/>
            <pc:sldMk cId="2304678014" sldId="2147483587"/>
            <ac:picMk id="37" creationId="{92FF0750-37FD-F73D-3389-1B3E73D1E0FC}"/>
          </ac:picMkLst>
        </pc:picChg>
        <pc:picChg chg="del">
          <ac:chgData name="Fardin Salam" userId="89004a45-f843-4675-a13e-f055c58c14f0" providerId="ADAL" clId="{EC86346C-BECD-43B4-9E2D-230B8F70F74B}" dt="2024-09-12T19:24:09.394" v="10" actId="478"/>
          <ac:picMkLst>
            <pc:docMk/>
            <pc:sldMk cId="2304678014" sldId="2147483587"/>
            <ac:picMk id="38" creationId="{FEFC9E02-2E19-1D1A-15EB-D079E27494DE}"/>
          </ac:picMkLst>
        </pc:picChg>
        <pc:picChg chg="del">
          <ac:chgData name="Fardin Salam" userId="89004a45-f843-4675-a13e-f055c58c14f0" providerId="ADAL" clId="{EC86346C-BECD-43B4-9E2D-230B8F70F74B}" dt="2024-09-12T19:24:09.394" v="10" actId="478"/>
          <ac:picMkLst>
            <pc:docMk/>
            <pc:sldMk cId="2304678014" sldId="2147483587"/>
            <ac:picMk id="39" creationId="{327CAB20-1456-26F0-10F9-7B5034F79DB9}"/>
          </ac:picMkLst>
        </pc:picChg>
        <pc:picChg chg="del">
          <ac:chgData name="Fardin Salam" userId="89004a45-f843-4675-a13e-f055c58c14f0" providerId="ADAL" clId="{EC86346C-BECD-43B4-9E2D-230B8F70F74B}" dt="2024-09-12T19:24:09.394" v="10" actId="478"/>
          <ac:picMkLst>
            <pc:docMk/>
            <pc:sldMk cId="2304678014" sldId="2147483587"/>
            <ac:picMk id="40" creationId="{14FC2C45-6D26-17C7-D77D-6D98012E03D7}"/>
          </ac:picMkLst>
        </pc:picChg>
        <pc:picChg chg="del">
          <ac:chgData name="Fardin Salam" userId="89004a45-f843-4675-a13e-f055c58c14f0" providerId="ADAL" clId="{EC86346C-BECD-43B4-9E2D-230B8F70F74B}" dt="2024-09-12T19:24:09.394" v="10" actId="478"/>
          <ac:picMkLst>
            <pc:docMk/>
            <pc:sldMk cId="2304678014" sldId="2147483587"/>
            <ac:picMk id="41" creationId="{6B377AE8-0C85-93C6-8161-38389912A071}"/>
          </ac:picMkLst>
        </pc:picChg>
        <pc:picChg chg="mod">
          <ac:chgData name="Fardin Salam" userId="89004a45-f843-4675-a13e-f055c58c14f0" providerId="ADAL" clId="{EC86346C-BECD-43B4-9E2D-230B8F70F74B}" dt="2024-09-12T19:24:19.910" v="13"/>
          <ac:picMkLst>
            <pc:docMk/>
            <pc:sldMk cId="2304678014" sldId="2147483587"/>
            <ac:picMk id="44" creationId="{F1EAB754-6733-D022-953E-00FA3EB71289}"/>
          </ac:picMkLst>
        </pc:picChg>
        <pc:picChg chg="add mod">
          <ac:chgData name="Fardin Salam" userId="89004a45-f843-4675-a13e-f055c58c14f0" providerId="ADAL" clId="{EC86346C-BECD-43B4-9E2D-230B8F70F74B}" dt="2024-09-12T19:24:19.910" v="13"/>
          <ac:picMkLst>
            <pc:docMk/>
            <pc:sldMk cId="2304678014" sldId="2147483587"/>
            <ac:picMk id="45" creationId="{330B40BD-17CD-1840-E260-742D0E97E926}"/>
          </ac:picMkLst>
        </pc:picChg>
      </pc:sldChg>
      <pc:sldChg chg="addSp delSp modSp mod">
        <pc:chgData name="Fardin Salam" userId="89004a45-f843-4675-a13e-f055c58c14f0" providerId="ADAL" clId="{EC86346C-BECD-43B4-9E2D-230B8F70F74B}" dt="2024-09-12T20:17:20.951" v="43"/>
        <pc:sldMkLst>
          <pc:docMk/>
          <pc:sldMk cId="2802433516" sldId="2147483590"/>
        </pc:sldMkLst>
        <pc:spChg chg="del">
          <ac:chgData name="Fardin Salam" userId="89004a45-f843-4675-a13e-f055c58c14f0" providerId="ADAL" clId="{EC86346C-BECD-43B4-9E2D-230B8F70F74B}" dt="2024-09-12T20:17:12.770" v="41" actId="478"/>
          <ac:spMkLst>
            <pc:docMk/>
            <pc:sldMk cId="2802433516" sldId="2147483590"/>
            <ac:spMk id="2" creationId="{00636FFB-D7C5-54CC-217F-6E8847DE0C80}"/>
          </ac:spMkLst>
        </pc:spChg>
        <pc:spChg chg="del">
          <ac:chgData name="Fardin Salam" userId="89004a45-f843-4675-a13e-f055c58c14f0" providerId="ADAL" clId="{EC86346C-BECD-43B4-9E2D-230B8F70F74B}" dt="2024-09-12T20:17:09.273" v="38" actId="478"/>
          <ac:spMkLst>
            <pc:docMk/>
            <pc:sldMk cId="2802433516" sldId="2147483590"/>
            <ac:spMk id="4" creationId="{CEA7DA04-CF15-804F-D5A4-64A077FC7AB7}"/>
          </ac:spMkLst>
        </pc:spChg>
        <pc:spChg chg="del">
          <ac:chgData name="Fardin Salam" userId="89004a45-f843-4675-a13e-f055c58c14f0" providerId="ADAL" clId="{EC86346C-BECD-43B4-9E2D-230B8F70F74B}" dt="2024-09-12T20:17:10.495" v="39" actId="478"/>
          <ac:spMkLst>
            <pc:docMk/>
            <pc:sldMk cId="2802433516" sldId="2147483590"/>
            <ac:spMk id="5" creationId="{D261A100-4EEF-7254-0BF2-D3B1915866FD}"/>
          </ac:spMkLst>
        </pc:spChg>
        <pc:spChg chg="del">
          <ac:chgData name="Fardin Salam" userId="89004a45-f843-4675-a13e-f055c58c14f0" providerId="ADAL" clId="{EC86346C-BECD-43B4-9E2D-230B8F70F74B}" dt="2024-09-12T20:17:09.273" v="38" actId="478"/>
          <ac:spMkLst>
            <pc:docMk/>
            <pc:sldMk cId="2802433516" sldId="2147483590"/>
            <ac:spMk id="6" creationId="{23A4D132-72E2-6EF3-886B-C41DACC456B8}"/>
          </ac:spMkLst>
        </pc:spChg>
        <pc:spChg chg="del">
          <ac:chgData name="Fardin Salam" userId="89004a45-f843-4675-a13e-f055c58c14f0" providerId="ADAL" clId="{EC86346C-BECD-43B4-9E2D-230B8F70F74B}" dt="2024-09-12T20:17:09.273" v="38" actId="478"/>
          <ac:spMkLst>
            <pc:docMk/>
            <pc:sldMk cId="2802433516" sldId="2147483590"/>
            <ac:spMk id="7" creationId="{2B002173-A7E1-817F-2624-5DE6EDFC4317}"/>
          </ac:spMkLst>
        </pc:spChg>
        <pc:spChg chg="del">
          <ac:chgData name="Fardin Salam" userId="89004a45-f843-4675-a13e-f055c58c14f0" providerId="ADAL" clId="{EC86346C-BECD-43B4-9E2D-230B8F70F74B}" dt="2024-09-12T20:17:09.273" v="38" actId="478"/>
          <ac:spMkLst>
            <pc:docMk/>
            <pc:sldMk cId="2802433516" sldId="2147483590"/>
            <ac:spMk id="8" creationId="{E7265655-957E-9AD9-B0E6-027578331B42}"/>
          </ac:spMkLst>
        </pc:spChg>
        <pc:spChg chg="del">
          <ac:chgData name="Fardin Salam" userId="89004a45-f843-4675-a13e-f055c58c14f0" providerId="ADAL" clId="{EC86346C-BECD-43B4-9E2D-230B8F70F74B}" dt="2024-09-12T20:17:09.273" v="38" actId="478"/>
          <ac:spMkLst>
            <pc:docMk/>
            <pc:sldMk cId="2802433516" sldId="2147483590"/>
            <ac:spMk id="9" creationId="{0BEAC267-8A95-6F67-A8D4-7A9791055845}"/>
          </ac:spMkLst>
        </pc:spChg>
        <pc:spChg chg="del">
          <ac:chgData name="Fardin Salam" userId="89004a45-f843-4675-a13e-f055c58c14f0" providerId="ADAL" clId="{EC86346C-BECD-43B4-9E2D-230B8F70F74B}" dt="2024-09-12T20:17:09.273" v="38" actId="478"/>
          <ac:spMkLst>
            <pc:docMk/>
            <pc:sldMk cId="2802433516" sldId="2147483590"/>
            <ac:spMk id="10" creationId="{05A41D1B-AC13-E516-B3C3-FF9028263DB1}"/>
          </ac:spMkLst>
        </pc:spChg>
        <pc:spChg chg="del">
          <ac:chgData name="Fardin Salam" userId="89004a45-f843-4675-a13e-f055c58c14f0" providerId="ADAL" clId="{EC86346C-BECD-43B4-9E2D-230B8F70F74B}" dt="2024-09-12T20:17:09.273" v="38" actId="478"/>
          <ac:spMkLst>
            <pc:docMk/>
            <pc:sldMk cId="2802433516" sldId="2147483590"/>
            <ac:spMk id="11" creationId="{789D2D49-3199-F42B-24F8-BF29AD9D4D6A}"/>
          </ac:spMkLst>
        </pc:spChg>
        <pc:spChg chg="del">
          <ac:chgData name="Fardin Salam" userId="89004a45-f843-4675-a13e-f055c58c14f0" providerId="ADAL" clId="{EC86346C-BECD-43B4-9E2D-230B8F70F74B}" dt="2024-09-12T20:17:09.273" v="38" actId="478"/>
          <ac:spMkLst>
            <pc:docMk/>
            <pc:sldMk cId="2802433516" sldId="2147483590"/>
            <ac:spMk id="12" creationId="{FD293999-FB70-9405-5546-D055583DBD3E}"/>
          </ac:spMkLst>
        </pc:spChg>
        <pc:spChg chg="del">
          <ac:chgData name="Fardin Salam" userId="89004a45-f843-4675-a13e-f055c58c14f0" providerId="ADAL" clId="{EC86346C-BECD-43B4-9E2D-230B8F70F74B}" dt="2024-09-12T20:17:09.273" v="38" actId="478"/>
          <ac:spMkLst>
            <pc:docMk/>
            <pc:sldMk cId="2802433516" sldId="2147483590"/>
            <ac:spMk id="13" creationId="{43847443-8DC7-72A8-2E59-62FB96175AB7}"/>
          </ac:spMkLst>
        </pc:spChg>
        <pc:spChg chg="del">
          <ac:chgData name="Fardin Salam" userId="89004a45-f843-4675-a13e-f055c58c14f0" providerId="ADAL" clId="{EC86346C-BECD-43B4-9E2D-230B8F70F74B}" dt="2024-09-12T20:17:09.273" v="38" actId="478"/>
          <ac:spMkLst>
            <pc:docMk/>
            <pc:sldMk cId="2802433516" sldId="2147483590"/>
            <ac:spMk id="14" creationId="{26363A46-3DB7-4D2B-E928-163E5F98B66D}"/>
          </ac:spMkLst>
        </pc:spChg>
        <pc:spChg chg="del">
          <ac:chgData name="Fardin Salam" userId="89004a45-f843-4675-a13e-f055c58c14f0" providerId="ADAL" clId="{EC86346C-BECD-43B4-9E2D-230B8F70F74B}" dt="2024-09-12T20:17:09.273" v="38" actId="478"/>
          <ac:spMkLst>
            <pc:docMk/>
            <pc:sldMk cId="2802433516" sldId="2147483590"/>
            <ac:spMk id="15" creationId="{7BE24DD3-BDC3-210C-3EC3-90076459C5B7}"/>
          </ac:spMkLst>
        </pc:spChg>
        <pc:spChg chg="del">
          <ac:chgData name="Fardin Salam" userId="89004a45-f843-4675-a13e-f055c58c14f0" providerId="ADAL" clId="{EC86346C-BECD-43B4-9E2D-230B8F70F74B}" dt="2024-09-12T20:17:09.273" v="38" actId="478"/>
          <ac:spMkLst>
            <pc:docMk/>
            <pc:sldMk cId="2802433516" sldId="2147483590"/>
            <ac:spMk id="16" creationId="{C9D5D96C-1A13-6887-9A2C-7535147F3242}"/>
          </ac:spMkLst>
        </pc:spChg>
        <pc:spChg chg="del">
          <ac:chgData name="Fardin Salam" userId="89004a45-f843-4675-a13e-f055c58c14f0" providerId="ADAL" clId="{EC86346C-BECD-43B4-9E2D-230B8F70F74B}" dt="2024-09-12T20:17:09.273" v="38" actId="478"/>
          <ac:spMkLst>
            <pc:docMk/>
            <pc:sldMk cId="2802433516" sldId="2147483590"/>
            <ac:spMk id="17" creationId="{16AB8816-1506-E1BA-6BE1-069EC6E5A8E2}"/>
          </ac:spMkLst>
        </pc:spChg>
        <pc:spChg chg="del">
          <ac:chgData name="Fardin Salam" userId="89004a45-f843-4675-a13e-f055c58c14f0" providerId="ADAL" clId="{EC86346C-BECD-43B4-9E2D-230B8F70F74B}" dt="2024-09-12T20:17:09.273" v="38" actId="478"/>
          <ac:spMkLst>
            <pc:docMk/>
            <pc:sldMk cId="2802433516" sldId="2147483590"/>
            <ac:spMk id="18" creationId="{D752CE14-4744-63EA-94A1-B328F2D29547}"/>
          </ac:spMkLst>
        </pc:spChg>
        <pc:spChg chg="add del mod">
          <ac:chgData name="Fardin Salam" userId="89004a45-f843-4675-a13e-f055c58c14f0" providerId="ADAL" clId="{EC86346C-BECD-43B4-9E2D-230B8F70F74B}" dt="2024-09-12T20:17:14.199" v="42" actId="478"/>
          <ac:spMkLst>
            <pc:docMk/>
            <pc:sldMk cId="2802433516" sldId="2147483590"/>
            <ac:spMk id="20" creationId="{A91DB855-13E8-36FD-C294-6B44D1A24987}"/>
          </ac:spMkLst>
        </pc:spChg>
        <pc:spChg chg="add mod">
          <ac:chgData name="Fardin Salam" userId="89004a45-f843-4675-a13e-f055c58c14f0" providerId="ADAL" clId="{EC86346C-BECD-43B4-9E2D-230B8F70F74B}" dt="2024-09-12T20:17:20.951" v="43"/>
          <ac:spMkLst>
            <pc:docMk/>
            <pc:sldMk cId="2802433516" sldId="2147483590"/>
            <ac:spMk id="21" creationId="{E71E302D-13B6-EA09-E30F-20841B76CA7A}"/>
          </ac:spMkLst>
        </pc:spChg>
        <pc:spChg chg="add mod">
          <ac:chgData name="Fardin Salam" userId="89004a45-f843-4675-a13e-f055c58c14f0" providerId="ADAL" clId="{EC86346C-BECD-43B4-9E2D-230B8F70F74B}" dt="2024-09-12T20:17:20.951" v="43"/>
          <ac:spMkLst>
            <pc:docMk/>
            <pc:sldMk cId="2802433516" sldId="2147483590"/>
            <ac:spMk id="22" creationId="{FDBC8270-D8C5-CA94-68AB-E914394494F3}"/>
          </ac:spMkLst>
        </pc:spChg>
        <pc:spChg chg="add mod">
          <ac:chgData name="Fardin Salam" userId="89004a45-f843-4675-a13e-f055c58c14f0" providerId="ADAL" clId="{EC86346C-BECD-43B4-9E2D-230B8F70F74B}" dt="2024-09-12T20:17:20.951" v="43"/>
          <ac:spMkLst>
            <pc:docMk/>
            <pc:sldMk cId="2802433516" sldId="2147483590"/>
            <ac:spMk id="23" creationId="{FC1EB0C2-829C-A6C5-8117-B2312753C1A4}"/>
          </ac:spMkLst>
        </pc:spChg>
        <pc:spChg chg="add mod">
          <ac:chgData name="Fardin Salam" userId="89004a45-f843-4675-a13e-f055c58c14f0" providerId="ADAL" clId="{EC86346C-BECD-43B4-9E2D-230B8F70F74B}" dt="2024-09-12T20:17:20.951" v="43"/>
          <ac:spMkLst>
            <pc:docMk/>
            <pc:sldMk cId="2802433516" sldId="2147483590"/>
            <ac:spMk id="24" creationId="{A02408D2-7076-F08D-7A03-AB39A1575074}"/>
          </ac:spMkLst>
        </pc:spChg>
        <pc:spChg chg="add mod">
          <ac:chgData name="Fardin Salam" userId="89004a45-f843-4675-a13e-f055c58c14f0" providerId="ADAL" clId="{EC86346C-BECD-43B4-9E2D-230B8F70F74B}" dt="2024-09-12T20:17:20.951" v="43"/>
          <ac:spMkLst>
            <pc:docMk/>
            <pc:sldMk cId="2802433516" sldId="2147483590"/>
            <ac:spMk id="25" creationId="{A0DB1080-8C34-FAA6-6B84-DD671933A8D0}"/>
          </ac:spMkLst>
        </pc:spChg>
        <pc:spChg chg="add mod">
          <ac:chgData name="Fardin Salam" userId="89004a45-f843-4675-a13e-f055c58c14f0" providerId="ADAL" clId="{EC86346C-BECD-43B4-9E2D-230B8F70F74B}" dt="2024-09-12T20:17:20.951" v="43"/>
          <ac:spMkLst>
            <pc:docMk/>
            <pc:sldMk cId="2802433516" sldId="2147483590"/>
            <ac:spMk id="26" creationId="{D978E732-8253-AF9F-44FA-A54F9BC11ACE}"/>
          </ac:spMkLst>
        </pc:spChg>
        <pc:spChg chg="add mod">
          <ac:chgData name="Fardin Salam" userId="89004a45-f843-4675-a13e-f055c58c14f0" providerId="ADAL" clId="{EC86346C-BECD-43B4-9E2D-230B8F70F74B}" dt="2024-09-12T20:17:20.951" v="43"/>
          <ac:spMkLst>
            <pc:docMk/>
            <pc:sldMk cId="2802433516" sldId="2147483590"/>
            <ac:spMk id="27" creationId="{111A89DE-3DEE-EAE2-5EDA-5354EE302DE2}"/>
          </ac:spMkLst>
        </pc:spChg>
        <pc:spChg chg="add mod">
          <ac:chgData name="Fardin Salam" userId="89004a45-f843-4675-a13e-f055c58c14f0" providerId="ADAL" clId="{EC86346C-BECD-43B4-9E2D-230B8F70F74B}" dt="2024-09-12T20:17:20.951" v="43"/>
          <ac:spMkLst>
            <pc:docMk/>
            <pc:sldMk cId="2802433516" sldId="2147483590"/>
            <ac:spMk id="28" creationId="{50FDB3EE-8A51-847A-69FD-C25732395E9A}"/>
          </ac:spMkLst>
        </pc:spChg>
        <pc:spChg chg="add mod">
          <ac:chgData name="Fardin Salam" userId="89004a45-f843-4675-a13e-f055c58c14f0" providerId="ADAL" clId="{EC86346C-BECD-43B4-9E2D-230B8F70F74B}" dt="2024-09-12T20:17:20.951" v="43"/>
          <ac:spMkLst>
            <pc:docMk/>
            <pc:sldMk cId="2802433516" sldId="2147483590"/>
            <ac:spMk id="29" creationId="{455356BB-0429-4162-59C1-7DF69D77F1FA}"/>
          </ac:spMkLst>
        </pc:spChg>
        <pc:spChg chg="add mod">
          <ac:chgData name="Fardin Salam" userId="89004a45-f843-4675-a13e-f055c58c14f0" providerId="ADAL" clId="{EC86346C-BECD-43B4-9E2D-230B8F70F74B}" dt="2024-09-12T20:17:20.951" v="43"/>
          <ac:spMkLst>
            <pc:docMk/>
            <pc:sldMk cId="2802433516" sldId="2147483590"/>
            <ac:spMk id="30" creationId="{663DE17E-164C-3095-AD64-F9761C74DF74}"/>
          </ac:spMkLst>
        </pc:spChg>
        <pc:spChg chg="add mod">
          <ac:chgData name="Fardin Salam" userId="89004a45-f843-4675-a13e-f055c58c14f0" providerId="ADAL" clId="{EC86346C-BECD-43B4-9E2D-230B8F70F74B}" dt="2024-09-12T20:17:20.951" v="43"/>
          <ac:spMkLst>
            <pc:docMk/>
            <pc:sldMk cId="2802433516" sldId="2147483590"/>
            <ac:spMk id="31" creationId="{6D06D7A6-2E86-C083-F903-D0DD31E3DFE2}"/>
          </ac:spMkLst>
        </pc:spChg>
        <pc:spChg chg="add mod">
          <ac:chgData name="Fardin Salam" userId="89004a45-f843-4675-a13e-f055c58c14f0" providerId="ADAL" clId="{EC86346C-BECD-43B4-9E2D-230B8F70F74B}" dt="2024-09-12T20:17:20.951" v="43"/>
          <ac:spMkLst>
            <pc:docMk/>
            <pc:sldMk cId="2802433516" sldId="2147483590"/>
            <ac:spMk id="32" creationId="{E267F394-58D8-FE66-9DC6-BE830B9707AD}"/>
          </ac:spMkLst>
        </pc:spChg>
        <pc:spChg chg="add mod">
          <ac:chgData name="Fardin Salam" userId="89004a45-f843-4675-a13e-f055c58c14f0" providerId="ADAL" clId="{EC86346C-BECD-43B4-9E2D-230B8F70F74B}" dt="2024-09-12T20:17:20.951" v="43"/>
          <ac:spMkLst>
            <pc:docMk/>
            <pc:sldMk cId="2802433516" sldId="2147483590"/>
            <ac:spMk id="33" creationId="{7E03947B-BDD8-724F-5110-C58829086BF7}"/>
          </ac:spMkLst>
        </pc:spChg>
        <pc:spChg chg="del">
          <ac:chgData name="Fardin Salam" userId="89004a45-f843-4675-a13e-f055c58c14f0" providerId="ADAL" clId="{EC86346C-BECD-43B4-9E2D-230B8F70F74B}" dt="2024-09-12T20:17:09.273" v="38" actId="478"/>
          <ac:spMkLst>
            <pc:docMk/>
            <pc:sldMk cId="2802433516" sldId="2147483590"/>
            <ac:spMk id="41" creationId="{24AB898D-2F02-589F-122C-464DB3CCFFD5}"/>
          </ac:spMkLst>
        </pc:spChg>
        <pc:spChg chg="del">
          <ac:chgData name="Fardin Salam" userId="89004a45-f843-4675-a13e-f055c58c14f0" providerId="ADAL" clId="{EC86346C-BECD-43B4-9E2D-230B8F70F74B}" dt="2024-09-12T20:17:09.273" v="38" actId="478"/>
          <ac:spMkLst>
            <pc:docMk/>
            <pc:sldMk cId="2802433516" sldId="2147483590"/>
            <ac:spMk id="42" creationId="{A8837A26-3B5C-12B9-C008-23F37C74E97E}"/>
          </ac:spMkLst>
        </pc:spChg>
        <pc:spChg chg="del">
          <ac:chgData name="Fardin Salam" userId="89004a45-f843-4675-a13e-f055c58c14f0" providerId="ADAL" clId="{EC86346C-BECD-43B4-9E2D-230B8F70F74B}" dt="2024-09-12T20:17:09.273" v="38" actId="478"/>
          <ac:spMkLst>
            <pc:docMk/>
            <pc:sldMk cId="2802433516" sldId="2147483590"/>
            <ac:spMk id="43" creationId="{7986B167-B20E-0B84-A67F-FA80BD521289}"/>
          </ac:spMkLst>
        </pc:spChg>
        <pc:spChg chg="del">
          <ac:chgData name="Fardin Salam" userId="89004a45-f843-4675-a13e-f055c58c14f0" providerId="ADAL" clId="{EC86346C-BECD-43B4-9E2D-230B8F70F74B}" dt="2024-09-12T20:17:09.273" v="38" actId="478"/>
          <ac:spMkLst>
            <pc:docMk/>
            <pc:sldMk cId="2802433516" sldId="2147483590"/>
            <ac:spMk id="44" creationId="{A78FF01C-6B01-C73D-4BBE-6182186FC6E7}"/>
          </ac:spMkLst>
        </pc:spChg>
        <pc:spChg chg="del">
          <ac:chgData name="Fardin Salam" userId="89004a45-f843-4675-a13e-f055c58c14f0" providerId="ADAL" clId="{EC86346C-BECD-43B4-9E2D-230B8F70F74B}" dt="2024-09-12T20:17:09.273" v="38" actId="478"/>
          <ac:spMkLst>
            <pc:docMk/>
            <pc:sldMk cId="2802433516" sldId="2147483590"/>
            <ac:spMk id="56" creationId="{CC6EDC61-6D2D-4B29-D2C3-69C86E5153F8}"/>
          </ac:spMkLst>
        </pc:spChg>
        <pc:spChg chg="del">
          <ac:chgData name="Fardin Salam" userId="89004a45-f843-4675-a13e-f055c58c14f0" providerId="ADAL" clId="{EC86346C-BECD-43B4-9E2D-230B8F70F74B}" dt="2024-09-12T20:17:09.273" v="38" actId="478"/>
          <ac:spMkLst>
            <pc:docMk/>
            <pc:sldMk cId="2802433516" sldId="2147483590"/>
            <ac:spMk id="71" creationId="{0528B29A-1959-7AF4-41FA-5AD1887BB2E8}"/>
          </ac:spMkLst>
        </pc:spChg>
        <pc:spChg chg="del">
          <ac:chgData name="Fardin Salam" userId="89004a45-f843-4675-a13e-f055c58c14f0" providerId="ADAL" clId="{EC86346C-BECD-43B4-9E2D-230B8F70F74B}" dt="2024-09-12T20:17:09.273" v="38" actId="478"/>
          <ac:spMkLst>
            <pc:docMk/>
            <pc:sldMk cId="2802433516" sldId="2147483590"/>
            <ac:spMk id="72" creationId="{852451DD-EE7B-8D6A-C390-76B81632984D}"/>
          </ac:spMkLst>
        </pc:spChg>
        <pc:spChg chg="del">
          <ac:chgData name="Fardin Salam" userId="89004a45-f843-4675-a13e-f055c58c14f0" providerId="ADAL" clId="{EC86346C-BECD-43B4-9E2D-230B8F70F74B}" dt="2024-09-12T20:17:09.273" v="38" actId="478"/>
          <ac:spMkLst>
            <pc:docMk/>
            <pc:sldMk cId="2802433516" sldId="2147483590"/>
            <ac:spMk id="73" creationId="{A8123AA3-41B4-669B-3B4D-803A16D34374}"/>
          </ac:spMkLst>
        </pc:spChg>
        <pc:picChg chg="del">
          <ac:chgData name="Fardin Salam" userId="89004a45-f843-4675-a13e-f055c58c14f0" providerId="ADAL" clId="{EC86346C-BECD-43B4-9E2D-230B8F70F74B}" dt="2024-09-12T20:17:11.022" v="40" actId="478"/>
          <ac:picMkLst>
            <pc:docMk/>
            <pc:sldMk cId="2802433516" sldId="2147483590"/>
            <ac:picMk id="3" creationId="{16C28B76-AB23-2A5D-0CF2-EFCB4D3F61DC}"/>
          </ac:picMkLst>
        </pc:picChg>
        <pc:picChg chg="add mod">
          <ac:chgData name="Fardin Salam" userId="89004a45-f843-4675-a13e-f055c58c14f0" providerId="ADAL" clId="{EC86346C-BECD-43B4-9E2D-230B8F70F74B}" dt="2024-09-12T20:17:20.951" v="43"/>
          <ac:picMkLst>
            <pc:docMk/>
            <pc:sldMk cId="2802433516" sldId="2147483590"/>
            <ac:picMk id="34" creationId="{D34A4899-8DE0-EB4E-2034-B91B212FF5C4}"/>
          </ac:picMkLst>
        </pc:picChg>
        <pc:picChg chg="add mod">
          <ac:chgData name="Fardin Salam" userId="89004a45-f843-4675-a13e-f055c58c14f0" providerId="ADAL" clId="{EC86346C-BECD-43B4-9E2D-230B8F70F74B}" dt="2024-09-12T20:17:20.951" v="43"/>
          <ac:picMkLst>
            <pc:docMk/>
            <pc:sldMk cId="2802433516" sldId="2147483590"/>
            <ac:picMk id="35" creationId="{40B3C079-2BC5-0E2F-E215-FB4CDE2FBAA7}"/>
          </ac:picMkLst>
        </pc:picChg>
        <pc:picChg chg="add mod">
          <ac:chgData name="Fardin Salam" userId="89004a45-f843-4675-a13e-f055c58c14f0" providerId="ADAL" clId="{EC86346C-BECD-43B4-9E2D-230B8F70F74B}" dt="2024-09-12T20:17:20.951" v="43"/>
          <ac:picMkLst>
            <pc:docMk/>
            <pc:sldMk cId="2802433516" sldId="2147483590"/>
            <ac:picMk id="36" creationId="{D6436801-C250-7468-2AC5-21C407A1C4ED}"/>
          </ac:picMkLst>
        </pc:picChg>
        <pc:picChg chg="add mod">
          <ac:chgData name="Fardin Salam" userId="89004a45-f843-4675-a13e-f055c58c14f0" providerId="ADAL" clId="{EC86346C-BECD-43B4-9E2D-230B8F70F74B}" dt="2024-09-12T20:17:20.951" v="43"/>
          <ac:picMkLst>
            <pc:docMk/>
            <pc:sldMk cId="2802433516" sldId="2147483590"/>
            <ac:picMk id="37" creationId="{2D5333D3-DBB0-2135-069E-AC918B09DA78}"/>
          </ac:picMkLst>
        </pc:picChg>
        <pc:picChg chg="add mod">
          <ac:chgData name="Fardin Salam" userId="89004a45-f843-4675-a13e-f055c58c14f0" providerId="ADAL" clId="{EC86346C-BECD-43B4-9E2D-230B8F70F74B}" dt="2024-09-12T20:17:20.951" v="43"/>
          <ac:picMkLst>
            <pc:docMk/>
            <pc:sldMk cId="2802433516" sldId="2147483590"/>
            <ac:picMk id="38" creationId="{EA2399CC-35F1-5F40-5B1F-FA764D9FE415}"/>
          </ac:picMkLst>
        </pc:picChg>
        <pc:picChg chg="del">
          <ac:chgData name="Fardin Salam" userId="89004a45-f843-4675-a13e-f055c58c14f0" providerId="ADAL" clId="{EC86346C-BECD-43B4-9E2D-230B8F70F74B}" dt="2024-09-12T20:17:09.273" v="38" actId="478"/>
          <ac:picMkLst>
            <pc:docMk/>
            <pc:sldMk cId="2802433516" sldId="2147483590"/>
            <ac:picMk id="74" creationId="{23425FCC-46EA-F22C-DCBD-77E5C35817C0}"/>
          </ac:picMkLst>
        </pc:picChg>
        <pc:picChg chg="del">
          <ac:chgData name="Fardin Salam" userId="89004a45-f843-4675-a13e-f055c58c14f0" providerId="ADAL" clId="{EC86346C-BECD-43B4-9E2D-230B8F70F74B}" dt="2024-09-12T20:17:09.273" v="38" actId="478"/>
          <ac:picMkLst>
            <pc:docMk/>
            <pc:sldMk cId="2802433516" sldId="2147483590"/>
            <ac:picMk id="76" creationId="{D9C51CB1-F421-9321-FA8E-BF37FD6188EC}"/>
          </ac:picMkLst>
        </pc:picChg>
        <pc:cxnChg chg="del">
          <ac:chgData name="Fardin Salam" userId="89004a45-f843-4675-a13e-f055c58c14f0" providerId="ADAL" clId="{EC86346C-BECD-43B4-9E2D-230B8F70F74B}" dt="2024-09-12T20:17:09.273" v="38" actId="478"/>
          <ac:cxnSpMkLst>
            <pc:docMk/>
            <pc:sldMk cId="2802433516" sldId="2147483590"/>
            <ac:cxnSpMk id="75" creationId="{098DA306-97DD-BD55-222F-C9B715616F15}"/>
          </ac:cxnSpMkLst>
        </pc:cxnChg>
      </pc:sldChg>
      <pc:sldChg chg="addSp delSp modSp mod">
        <pc:chgData name="Fardin Salam" userId="89004a45-f843-4675-a13e-f055c58c14f0" providerId="ADAL" clId="{EC86346C-BECD-43B4-9E2D-230B8F70F74B}" dt="2024-09-12T20:18:05.733" v="58" actId="1035"/>
        <pc:sldMkLst>
          <pc:docMk/>
          <pc:sldMk cId="4245051077" sldId="2147483591"/>
        </pc:sldMkLst>
        <pc:spChg chg="add del mod">
          <ac:chgData name="Fardin Salam" userId="89004a45-f843-4675-a13e-f055c58c14f0" providerId="ADAL" clId="{EC86346C-BECD-43B4-9E2D-230B8F70F74B}" dt="2024-09-12T20:17:50.583" v="47" actId="478"/>
          <ac:spMkLst>
            <pc:docMk/>
            <pc:sldMk cId="4245051077" sldId="2147483591"/>
            <ac:spMk id="3" creationId="{2EABCCC4-D6AB-DF57-8A74-4961BAE0B263}"/>
          </ac:spMkLst>
        </pc:spChg>
        <pc:spChg chg="add mod">
          <ac:chgData name="Fardin Salam" userId="89004a45-f843-4675-a13e-f055c58c14f0" providerId="ADAL" clId="{EC86346C-BECD-43B4-9E2D-230B8F70F74B}" dt="2024-09-12T20:18:05.733" v="58" actId="1035"/>
          <ac:spMkLst>
            <pc:docMk/>
            <pc:sldMk cId="4245051077" sldId="2147483591"/>
            <ac:spMk id="4" creationId="{331DD1A5-1B82-8E3B-FCDE-B0987112C011}"/>
          </ac:spMkLst>
        </pc:spChg>
        <pc:spChg chg="add mod">
          <ac:chgData name="Fardin Salam" userId="89004a45-f843-4675-a13e-f055c58c14f0" providerId="ADAL" clId="{EC86346C-BECD-43B4-9E2D-230B8F70F74B}" dt="2024-09-12T20:17:57.600" v="48"/>
          <ac:spMkLst>
            <pc:docMk/>
            <pc:sldMk cId="4245051077" sldId="2147483591"/>
            <ac:spMk id="5" creationId="{74A2D424-C7E3-4795-0A7E-D5C081D81D16}"/>
          </ac:spMkLst>
        </pc:spChg>
        <pc:spChg chg="add mod">
          <ac:chgData name="Fardin Salam" userId="89004a45-f843-4675-a13e-f055c58c14f0" providerId="ADAL" clId="{EC86346C-BECD-43B4-9E2D-230B8F70F74B}" dt="2024-09-12T20:18:05.733" v="58" actId="1035"/>
          <ac:spMkLst>
            <pc:docMk/>
            <pc:sldMk cId="4245051077" sldId="2147483591"/>
            <ac:spMk id="6" creationId="{DC6037AD-EDF2-001B-92D6-B042DE2DE97C}"/>
          </ac:spMkLst>
        </pc:spChg>
        <pc:spChg chg="add mod">
          <ac:chgData name="Fardin Salam" userId="89004a45-f843-4675-a13e-f055c58c14f0" providerId="ADAL" clId="{EC86346C-BECD-43B4-9E2D-230B8F70F74B}" dt="2024-09-12T20:18:05.733" v="58" actId="1035"/>
          <ac:spMkLst>
            <pc:docMk/>
            <pc:sldMk cId="4245051077" sldId="2147483591"/>
            <ac:spMk id="7" creationId="{2FFD8A9A-418C-57A3-8833-1C2593DDA59E}"/>
          </ac:spMkLst>
        </pc:spChg>
        <pc:spChg chg="add mod">
          <ac:chgData name="Fardin Salam" userId="89004a45-f843-4675-a13e-f055c58c14f0" providerId="ADAL" clId="{EC86346C-BECD-43B4-9E2D-230B8F70F74B}" dt="2024-09-12T20:18:05.733" v="58" actId="1035"/>
          <ac:spMkLst>
            <pc:docMk/>
            <pc:sldMk cId="4245051077" sldId="2147483591"/>
            <ac:spMk id="8" creationId="{EA44EC23-8326-70DD-62E6-30EE92C0BF93}"/>
          </ac:spMkLst>
        </pc:spChg>
        <pc:spChg chg="add mod">
          <ac:chgData name="Fardin Salam" userId="89004a45-f843-4675-a13e-f055c58c14f0" providerId="ADAL" clId="{EC86346C-BECD-43B4-9E2D-230B8F70F74B}" dt="2024-09-12T20:18:05.733" v="58" actId="1035"/>
          <ac:spMkLst>
            <pc:docMk/>
            <pc:sldMk cId="4245051077" sldId="2147483591"/>
            <ac:spMk id="10" creationId="{E34FE00B-ABB7-7894-0D53-CD7EA834D343}"/>
          </ac:spMkLst>
        </pc:spChg>
        <pc:spChg chg="add mod">
          <ac:chgData name="Fardin Salam" userId="89004a45-f843-4675-a13e-f055c58c14f0" providerId="ADAL" clId="{EC86346C-BECD-43B4-9E2D-230B8F70F74B}" dt="2024-09-12T20:18:05.733" v="58" actId="1035"/>
          <ac:spMkLst>
            <pc:docMk/>
            <pc:sldMk cId="4245051077" sldId="2147483591"/>
            <ac:spMk id="12" creationId="{27D56190-B8E6-9D11-1D2C-020B4D36A70D}"/>
          </ac:spMkLst>
        </pc:spChg>
        <pc:spChg chg="add mod">
          <ac:chgData name="Fardin Salam" userId="89004a45-f843-4675-a13e-f055c58c14f0" providerId="ADAL" clId="{EC86346C-BECD-43B4-9E2D-230B8F70F74B}" dt="2024-09-12T20:18:05.733" v="58" actId="1035"/>
          <ac:spMkLst>
            <pc:docMk/>
            <pc:sldMk cId="4245051077" sldId="2147483591"/>
            <ac:spMk id="15" creationId="{68517084-0F88-F4C7-DC20-AB12F846A044}"/>
          </ac:spMkLst>
        </pc:spChg>
        <pc:spChg chg="add mod">
          <ac:chgData name="Fardin Salam" userId="89004a45-f843-4675-a13e-f055c58c14f0" providerId="ADAL" clId="{EC86346C-BECD-43B4-9E2D-230B8F70F74B}" dt="2024-09-12T20:18:05.733" v="58" actId="1035"/>
          <ac:spMkLst>
            <pc:docMk/>
            <pc:sldMk cId="4245051077" sldId="2147483591"/>
            <ac:spMk id="16" creationId="{3FE33D15-8CD1-8782-F44F-C943BD4520BD}"/>
          </ac:spMkLst>
        </pc:spChg>
        <pc:spChg chg="mod">
          <ac:chgData name="Fardin Salam" userId="89004a45-f843-4675-a13e-f055c58c14f0" providerId="ADAL" clId="{EC86346C-BECD-43B4-9E2D-230B8F70F74B}" dt="2024-09-12T20:17:57.600" v="48"/>
          <ac:spMkLst>
            <pc:docMk/>
            <pc:sldMk cId="4245051077" sldId="2147483591"/>
            <ac:spMk id="18" creationId="{ECB159CD-13D4-A333-9E9A-8894A739F7C4}"/>
          </ac:spMkLst>
        </pc:spChg>
        <pc:spChg chg="del">
          <ac:chgData name="Fardin Salam" userId="89004a45-f843-4675-a13e-f055c58c14f0" providerId="ADAL" clId="{EC86346C-BECD-43B4-9E2D-230B8F70F74B}" dt="2024-09-12T20:17:48.535" v="46" actId="478"/>
          <ac:spMkLst>
            <pc:docMk/>
            <pc:sldMk cId="4245051077" sldId="2147483591"/>
            <ac:spMk id="21" creationId="{E71E302D-13B6-EA09-E30F-20841B76CA7A}"/>
          </ac:spMkLst>
        </pc:spChg>
        <pc:spChg chg="del">
          <ac:chgData name="Fardin Salam" userId="89004a45-f843-4675-a13e-f055c58c14f0" providerId="ADAL" clId="{EC86346C-BECD-43B4-9E2D-230B8F70F74B}" dt="2024-09-12T20:17:44.726" v="45" actId="478"/>
          <ac:spMkLst>
            <pc:docMk/>
            <pc:sldMk cId="4245051077" sldId="2147483591"/>
            <ac:spMk id="22" creationId="{FDBC8270-D8C5-CA94-68AB-E914394494F3}"/>
          </ac:spMkLst>
        </pc:spChg>
        <pc:spChg chg="del">
          <ac:chgData name="Fardin Salam" userId="89004a45-f843-4675-a13e-f055c58c14f0" providerId="ADAL" clId="{EC86346C-BECD-43B4-9E2D-230B8F70F74B}" dt="2024-09-12T20:17:44.726" v="45" actId="478"/>
          <ac:spMkLst>
            <pc:docMk/>
            <pc:sldMk cId="4245051077" sldId="2147483591"/>
            <ac:spMk id="23" creationId="{FC1EB0C2-829C-A6C5-8117-B2312753C1A4}"/>
          </ac:spMkLst>
        </pc:spChg>
        <pc:spChg chg="del">
          <ac:chgData name="Fardin Salam" userId="89004a45-f843-4675-a13e-f055c58c14f0" providerId="ADAL" clId="{EC86346C-BECD-43B4-9E2D-230B8F70F74B}" dt="2024-09-12T20:17:44.726" v="45" actId="478"/>
          <ac:spMkLst>
            <pc:docMk/>
            <pc:sldMk cId="4245051077" sldId="2147483591"/>
            <ac:spMk id="24" creationId="{A02408D2-7076-F08D-7A03-AB39A1575074}"/>
          </ac:spMkLst>
        </pc:spChg>
        <pc:spChg chg="del">
          <ac:chgData name="Fardin Salam" userId="89004a45-f843-4675-a13e-f055c58c14f0" providerId="ADAL" clId="{EC86346C-BECD-43B4-9E2D-230B8F70F74B}" dt="2024-09-12T20:17:44.726" v="45" actId="478"/>
          <ac:spMkLst>
            <pc:docMk/>
            <pc:sldMk cId="4245051077" sldId="2147483591"/>
            <ac:spMk id="25" creationId="{A0DB1080-8C34-FAA6-6B84-DD671933A8D0}"/>
          </ac:spMkLst>
        </pc:spChg>
        <pc:spChg chg="del">
          <ac:chgData name="Fardin Salam" userId="89004a45-f843-4675-a13e-f055c58c14f0" providerId="ADAL" clId="{EC86346C-BECD-43B4-9E2D-230B8F70F74B}" dt="2024-09-12T20:17:44.726" v="45" actId="478"/>
          <ac:spMkLst>
            <pc:docMk/>
            <pc:sldMk cId="4245051077" sldId="2147483591"/>
            <ac:spMk id="26" creationId="{D978E732-8253-AF9F-44FA-A54F9BC11ACE}"/>
          </ac:spMkLst>
        </pc:spChg>
        <pc:spChg chg="del">
          <ac:chgData name="Fardin Salam" userId="89004a45-f843-4675-a13e-f055c58c14f0" providerId="ADAL" clId="{EC86346C-BECD-43B4-9E2D-230B8F70F74B}" dt="2024-09-12T20:17:44.726" v="45" actId="478"/>
          <ac:spMkLst>
            <pc:docMk/>
            <pc:sldMk cId="4245051077" sldId="2147483591"/>
            <ac:spMk id="27" creationId="{111A89DE-3DEE-EAE2-5EDA-5354EE302DE2}"/>
          </ac:spMkLst>
        </pc:spChg>
        <pc:spChg chg="del">
          <ac:chgData name="Fardin Salam" userId="89004a45-f843-4675-a13e-f055c58c14f0" providerId="ADAL" clId="{EC86346C-BECD-43B4-9E2D-230B8F70F74B}" dt="2024-09-12T20:17:44.726" v="45" actId="478"/>
          <ac:spMkLst>
            <pc:docMk/>
            <pc:sldMk cId="4245051077" sldId="2147483591"/>
            <ac:spMk id="28" creationId="{50FDB3EE-8A51-847A-69FD-C25732395E9A}"/>
          </ac:spMkLst>
        </pc:spChg>
        <pc:spChg chg="del">
          <ac:chgData name="Fardin Salam" userId="89004a45-f843-4675-a13e-f055c58c14f0" providerId="ADAL" clId="{EC86346C-BECD-43B4-9E2D-230B8F70F74B}" dt="2024-09-12T20:17:44.726" v="45" actId="478"/>
          <ac:spMkLst>
            <pc:docMk/>
            <pc:sldMk cId="4245051077" sldId="2147483591"/>
            <ac:spMk id="29" creationId="{455356BB-0429-4162-59C1-7DF69D77F1FA}"/>
          </ac:spMkLst>
        </pc:spChg>
        <pc:spChg chg="del">
          <ac:chgData name="Fardin Salam" userId="89004a45-f843-4675-a13e-f055c58c14f0" providerId="ADAL" clId="{EC86346C-BECD-43B4-9E2D-230B8F70F74B}" dt="2024-09-12T20:17:44.726" v="45" actId="478"/>
          <ac:spMkLst>
            <pc:docMk/>
            <pc:sldMk cId="4245051077" sldId="2147483591"/>
            <ac:spMk id="30" creationId="{663DE17E-164C-3095-AD64-F9761C74DF74}"/>
          </ac:spMkLst>
        </pc:spChg>
        <pc:spChg chg="del">
          <ac:chgData name="Fardin Salam" userId="89004a45-f843-4675-a13e-f055c58c14f0" providerId="ADAL" clId="{EC86346C-BECD-43B4-9E2D-230B8F70F74B}" dt="2024-09-12T20:17:44.726" v="45" actId="478"/>
          <ac:spMkLst>
            <pc:docMk/>
            <pc:sldMk cId="4245051077" sldId="2147483591"/>
            <ac:spMk id="31" creationId="{6D06D7A6-2E86-C083-F903-D0DD31E3DFE2}"/>
          </ac:spMkLst>
        </pc:spChg>
        <pc:spChg chg="del">
          <ac:chgData name="Fardin Salam" userId="89004a45-f843-4675-a13e-f055c58c14f0" providerId="ADAL" clId="{EC86346C-BECD-43B4-9E2D-230B8F70F74B}" dt="2024-09-12T20:17:44.726" v="45" actId="478"/>
          <ac:spMkLst>
            <pc:docMk/>
            <pc:sldMk cId="4245051077" sldId="2147483591"/>
            <ac:spMk id="32" creationId="{E267F394-58D8-FE66-9DC6-BE830B9707AD}"/>
          </ac:spMkLst>
        </pc:spChg>
        <pc:spChg chg="del">
          <ac:chgData name="Fardin Salam" userId="89004a45-f843-4675-a13e-f055c58c14f0" providerId="ADAL" clId="{EC86346C-BECD-43B4-9E2D-230B8F70F74B}" dt="2024-09-12T20:17:44.726" v="45" actId="478"/>
          <ac:spMkLst>
            <pc:docMk/>
            <pc:sldMk cId="4245051077" sldId="2147483591"/>
            <ac:spMk id="33" creationId="{7E03947B-BDD8-724F-5110-C58829086BF7}"/>
          </ac:spMkLst>
        </pc:spChg>
        <pc:spChg chg="mod">
          <ac:chgData name="Fardin Salam" userId="89004a45-f843-4675-a13e-f055c58c14f0" providerId="ADAL" clId="{EC86346C-BECD-43B4-9E2D-230B8F70F74B}" dt="2024-09-12T20:17:57.600" v="48"/>
          <ac:spMkLst>
            <pc:docMk/>
            <pc:sldMk cId="4245051077" sldId="2147483591"/>
            <ac:spMk id="39" creationId="{64E92123-ADCC-58D5-CF13-0DD555E7D08D}"/>
          </ac:spMkLst>
        </pc:spChg>
        <pc:spChg chg="mod">
          <ac:chgData name="Fardin Salam" userId="89004a45-f843-4675-a13e-f055c58c14f0" providerId="ADAL" clId="{EC86346C-BECD-43B4-9E2D-230B8F70F74B}" dt="2024-09-12T20:17:57.600" v="48"/>
          <ac:spMkLst>
            <pc:docMk/>
            <pc:sldMk cId="4245051077" sldId="2147483591"/>
            <ac:spMk id="42" creationId="{E3373E9F-6B24-334B-483E-94E9D5D42E4D}"/>
          </ac:spMkLst>
        </pc:spChg>
        <pc:spChg chg="add mod">
          <ac:chgData name="Fardin Salam" userId="89004a45-f843-4675-a13e-f055c58c14f0" providerId="ADAL" clId="{EC86346C-BECD-43B4-9E2D-230B8F70F74B}" dt="2024-09-12T20:18:05.733" v="58" actId="1035"/>
          <ac:spMkLst>
            <pc:docMk/>
            <pc:sldMk cId="4245051077" sldId="2147483591"/>
            <ac:spMk id="44" creationId="{8F7E7284-48E6-7343-8E09-7CD43BE953B8}"/>
          </ac:spMkLst>
        </pc:spChg>
        <pc:spChg chg="add mod">
          <ac:chgData name="Fardin Salam" userId="89004a45-f843-4675-a13e-f055c58c14f0" providerId="ADAL" clId="{EC86346C-BECD-43B4-9E2D-230B8F70F74B}" dt="2024-09-12T20:18:05.733" v="58" actId="1035"/>
          <ac:spMkLst>
            <pc:docMk/>
            <pc:sldMk cId="4245051077" sldId="2147483591"/>
            <ac:spMk id="45" creationId="{D0855597-8A83-2C06-28CC-339FEFDE28F6}"/>
          </ac:spMkLst>
        </pc:spChg>
        <pc:spChg chg="mod">
          <ac:chgData name="Fardin Salam" userId="89004a45-f843-4675-a13e-f055c58c14f0" providerId="ADAL" clId="{EC86346C-BECD-43B4-9E2D-230B8F70F74B}" dt="2024-09-12T20:17:57.600" v="48"/>
          <ac:spMkLst>
            <pc:docMk/>
            <pc:sldMk cId="4245051077" sldId="2147483591"/>
            <ac:spMk id="47" creationId="{F80782AE-CA07-41F2-9969-D342B6CD975E}"/>
          </ac:spMkLst>
        </pc:spChg>
        <pc:spChg chg="mod">
          <ac:chgData name="Fardin Salam" userId="89004a45-f843-4675-a13e-f055c58c14f0" providerId="ADAL" clId="{EC86346C-BECD-43B4-9E2D-230B8F70F74B}" dt="2024-09-12T20:17:57.600" v="48"/>
          <ac:spMkLst>
            <pc:docMk/>
            <pc:sldMk cId="4245051077" sldId="2147483591"/>
            <ac:spMk id="48" creationId="{AC618F8C-2018-DEA5-7156-E95B23625253}"/>
          </ac:spMkLst>
        </pc:spChg>
        <pc:spChg chg="mod">
          <ac:chgData name="Fardin Salam" userId="89004a45-f843-4675-a13e-f055c58c14f0" providerId="ADAL" clId="{EC86346C-BECD-43B4-9E2D-230B8F70F74B}" dt="2024-09-12T20:17:57.600" v="48"/>
          <ac:spMkLst>
            <pc:docMk/>
            <pc:sldMk cId="4245051077" sldId="2147483591"/>
            <ac:spMk id="49" creationId="{784D1CD7-B13A-23F2-682E-2692410D6854}"/>
          </ac:spMkLst>
        </pc:spChg>
        <pc:spChg chg="mod">
          <ac:chgData name="Fardin Salam" userId="89004a45-f843-4675-a13e-f055c58c14f0" providerId="ADAL" clId="{EC86346C-BECD-43B4-9E2D-230B8F70F74B}" dt="2024-09-12T20:17:57.600" v="48"/>
          <ac:spMkLst>
            <pc:docMk/>
            <pc:sldMk cId="4245051077" sldId="2147483591"/>
            <ac:spMk id="50" creationId="{0C34B1AB-296E-3979-78C4-B47DE8E7DAC3}"/>
          </ac:spMkLst>
        </pc:spChg>
        <pc:spChg chg="mod">
          <ac:chgData name="Fardin Salam" userId="89004a45-f843-4675-a13e-f055c58c14f0" providerId="ADAL" clId="{EC86346C-BECD-43B4-9E2D-230B8F70F74B}" dt="2024-09-12T20:17:57.600" v="48"/>
          <ac:spMkLst>
            <pc:docMk/>
            <pc:sldMk cId="4245051077" sldId="2147483591"/>
            <ac:spMk id="51" creationId="{B2913EE5-775E-F11C-3B4F-F194FEDC80DB}"/>
          </ac:spMkLst>
        </pc:spChg>
        <pc:spChg chg="mod">
          <ac:chgData name="Fardin Salam" userId="89004a45-f843-4675-a13e-f055c58c14f0" providerId="ADAL" clId="{EC86346C-BECD-43B4-9E2D-230B8F70F74B}" dt="2024-09-12T20:17:57.600" v="48"/>
          <ac:spMkLst>
            <pc:docMk/>
            <pc:sldMk cId="4245051077" sldId="2147483591"/>
            <ac:spMk id="52" creationId="{9B53DBAC-35CA-8E44-520F-60C33244B909}"/>
          </ac:spMkLst>
        </pc:spChg>
        <pc:spChg chg="mod">
          <ac:chgData name="Fardin Salam" userId="89004a45-f843-4675-a13e-f055c58c14f0" providerId="ADAL" clId="{EC86346C-BECD-43B4-9E2D-230B8F70F74B}" dt="2024-09-12T20:17:57.600" v="48"/>
          <ac:spMkLst>
            <pc:docMk/>
            <pc:sldMk cId="4245051077" sldId="2147483591"/>
            <ac:spMk id="53" creationId="{DC8C9397-6C1D-26C1-8CE6-85B6FE88C545}"/>
          </ac:spMkLst>
        </pc:spChg>
        <pc:spChg chg="mod">
          <ac:chgData name="Fardin Salam" userId="89004a45-f843-4675-a13e-f055c58c14f0" providerId="ADAL" clId="{EC86346C-BECD-43B4-9E2D-230B8F70F74B}" dt="2024-09-12T20:17:57.600" v="48"/>
          <ac:spMkLst>
            <pc:docMk/>
            <pc:sldMk cId="4245051077" sldId="2147483591"/>
            <ac:spMk id="54" creationId="{C319AD29-5731-F623-1E27-9DB1D132B770}"/>
          </ac:spMkLst>
        </pc:spChg>
        <pc:spChg chg="mod">
          <ac:chgData name="Fardin Salam" userId="89004a45-f843-4675-a13e-f055c58c14f0" providerId="ADAL" clId="{EC86346C-BECD-43B4-9E2D-230B8F70F74B}" dt="2024-09-12T20:17:57.600" v="48"/>
          <ac:spMkLst>
            <pc:docMk/>
            <pc:sldMk cId="4245051077" sldId="2147483591"/>
            <ac:spMk id="55" creationId="{115052C2-35CA-4E86-322D-4D81DB274813}"/>
          </ac:spMkLst>
        </pc:spChg>
        <pc:spChg chg="mod">
          <ac:chgData name="Fardin Salam" userId="89004a45-f843-4675-a13e-f055c58c14f0" providerId="ADAL" clId="{EC86346C-BECD-43B4-9E2D-230B8F70F74B}" dt="2024-09-12T20:17:57.600" v="48"/>
          <ac:spMkLst>
            <pc:docMk/>
            <pc:sldMk cId="4245051077" sldId="2147483591"/>
            <ac:spMk id="56" creationId="{F8AC5883-3E19-BB98-DD1F-9973FD58814E}"/>
          </ac:spMkLst>
        </pc:spChg>
        <pc:spChg chg="add mod">
          <ac:chgData name="Fardin Salam" userId="89004a45-f843-4675-a13e-f055c58c14f0" providerId="ADAL" clId="{EC86346C-BECD-43B4-9E2D-230B8F70F74B}" dt="2024-09-12T20:18:05.733" v="58" actId="1035"/>
          <ac:spMkLst>
            <pc:docMk/>
            <pc:sldMk cId="4245051077" sldId="2147483591"/>
            <ac:spMk id="57" creationId="{E15D0AAD-AC62-3F5B-A12E-336F1E9E9F29}"/>
          </ac:spMkLst>
        </pc:spChg>
        <pc:spChg chg="add mod">
          <ac:chgData name="Fardin Salam" userId="89004a45-f843-4675-a13e-f055c58c14f0" providerId="ADAL" clId="{EC86346C-BECD-43B4-9E2D-230B8F70F74B}" dt="2024-09-12T20:18:05.733" v="58" actId="1035"/>
          <ac:spMkLst>
            <pc:docMk/>
            <pc:sldMk cId="4245051077" sldId="2147483591"/>
            <ac:spMk id="59" creationId="{B80396C4-3E98-0F82-B044-840D725CD458}"/>
          </ac:spMkLst>
        </pc:spChg>
        <pc:spChg chg="add mod">
          <ac:chgData name="Fardin Salam" userId="89004a45-f843-4675-a13e-f055c58c14f0" providerId="ADAL" clId="{EC86346C-BECD-43B4-9E2D-230B8F70F74B}" dt="2024-09-12T20:18:05.733" v="58" actId="1035"/>
          <ac:spMkLst>
            <pc:docMk/>
            <pc:sldMk cId="4245051077" sldId="2147483591"/>
            <ac:spMk id="61" creationId="{9A094616-8741-C3E9-F4FA-0AAEAA020A56}"/>
          </ac:spMkLst>
        </pc:spChg>
        <pc:spChg chg="add mod">
          <ac:chgData name="Fardin Salam" userId="89004a45-f843-4675-a13e-f055c58c14f0" providerId="ADAL" clId="{EC86346C-BECD-43B4-9E2D-230B8F70F74B}" dt="2024-09-12T20:18:05.733" v="58" actId="1035"/>
          <ac:spMkLst>
            <pc:docMk/>
            <pc:sldMk cId="4245051077" sldId="2147483591"/>
            <ac:spMk id="62" creationId="{BE7F847D-9D8B-49D6-ABB0-8E06386093F0}"/>
          </ac:spMkLst>
        </pc:spChg>
        <pc:spChg chg="mod">
          <ac:chgData name="Fardin Salam" userId="89004a45-f843-4675-a13e-f055c58c14f0" providerId="ADAL" clId="{EC86346C-BECD-43B4-9E2D-230B8F70F74B}" dt="2024-09-12T20:17:57.600" v="48"/>
          <ac:spMkLst>
            <pc:docMk/>
            <pc:sldMk cId="4245051077" sldId="2147483591"/>
            <ac:spMk id="64" creationId="{A09F1BC5-E3EF-D99A-FF91-7DA3467B3386}"/>
          </ac:spMkLst>
        </pc:spChg>
        <pc:spChg chg="mod">
          <ac:chgData name="Fardin Salam" userId="89004a45-f843-4675-a13e-f055c58c14f0" providerId="ADAL" clId="{EC86346C-BECD-43B4-9E2D-230B8F70F74B}" dt="2024-09-12T20:17:57.600" v="48"/>
          <ac:spMkLst>
            <pc:docMk/>
            <pc:sldMk cId="4245051077" sldId="2147483591"/>
            <ac:spMk id="65" creationId="{A162D81F-B8EF-38C8-F0DF-B63B2908B6C6}"/>
          </ac:spMkLst>
        </pc:spChg>
        <pc:spChg chg="mod">
          <ac:chgData name="Fardin Salam" userId="89004a45-f843-4675-a13e-f055c58c14f0" providerId="ADAL" clId="{EC86346C-BECD-43B4-9E2D-230B8F70F74B}" dt="2024-09-12T20:17:57.600" v="48"/>
          <ac:spMkLst>
            <pc:docMk/>
            <pc:sldMk cId="4245051077" sldId="2147483591"/>
            <ac:spMk id="66" creationId="{18039D41-8CF2-1E36-0C5B-38A20B1A8C87}"/>
          </ac:spMkLst>
        </pc:spChg>
        <pc:spChg chg="mod">
          <ac:chgData name="Fardin Salam" userId="89004a45-f843-4675-a13e-f055c58c14f0" providerId="ADAL" clId="{EC86346C-BECD-43B4-9E2D-230B8F70F74B}" dt="2024-09-12T20:17:57.600" v="48"/>
          <ac:spMkLst>
            <pc:docMk/>
            <pc:sldMk cId="4245051077" sldId="2147483591"/>
            <ac:spMk id="67" creationId="{E3B59BD0-3950-6463-AABD-4E7DAE216ECD}"/>
          </ac:spMkLst>
        </pc:spChg>
        <pc:spChg chg="mod">
          <ac:chgData name="Fardin Salam" userId="89004a45-f843-4675-a13e-f055c58c14f0" providerId="ADAL" clId="{EC86346C-BECD-43B4-9E2D-230B8F70F74B}" dt="2024-09-12T20:17:57.600" v="48"/>
          <ac:spMkLst>
            <pc:docMk/>
            <pc:sldMk cId="4245051077" sldId="2147483591"/>
            <ac:spMk id="68" creationId="{6B2E7E67-071D-6C3B-0DE3-4CEFF2E325F1}"/>
          </ac:spMkLst>
        </pc:spChg>
        <pc:spChg chg="mod">
          <ac:chgData name="Fardin Salam" userId="89004a45-f843-4675-a13e-f055c58c14f0" providerId="ADAL" clId="{EC86346C-BECD-43B4-9E2D-230B8F70F74B}" dt="2024-09-12T20:17:57.600" v="48"/>
          <ac:spMkLst>
            <pc:docMk/>
            <pc:sldMk cId="4245051077" sldId="2147483591"/>
            <ac:spMk id="74" creationId="{C17635CB-3CBB-FD90-4128-0BD8F157CF49}"/>
          </ac:spMkLst>
        </pc:spChg>
        <pc:spChg chg="mod">
          <ac:chgData name="Fardin Salam" userId="89004a45-f843-4675-a13e-f055c58c14f0" providerId="ADAL" clId="{EC86346C-BECD-43B4-9E2D-230B8F70F74B}" dt="2024-09-12T20:17:57.600" v="48"/>
          <ac:spMkLst>
            <pc:docMk/>
            <pc:sldMk cId="4245051077" sldId="2147483591"/>
            <ac:spMk id="75" creationId="{2E8A9533-63CC-A659-FA32-9E10E05CC762}"/>
          </ac:spMkLst>
        </pc:spChg>
        <pc:spChg chg="mod">
          <ac:chgData name="Fardin Salam" userId="89004a45-f843-4675-a13e-f055c58c14f0" providerId="ADAL" clId="{EC86346C-BECD-43B4-9E2D-230B8F70F74B}" dt="2024-09-12T20:17:57.600" v="48"/>
          <ac:spMkLst>
            <pc:docMk/>
            <pc:sldMk cId="4245051077" sldId="2147483591"/>
            <ac:spMk id="77" creationId="{2266D54B-2F39-7EF7-B581-A1FEE0819D81}"/>
          </ac:spMkLst>
        </pc:spChg>
        <pc:spChg chg="add mod">
          <ac:chgData name="Fardin Salam" userId="89004a45-f843-4675-a13e-f055c58c14f0" providerId="ADAL" clId="{EC86346C-BECD-43B4-9E2D-230B8F70F74B}" dt="2024-09-12T20:18:05.733" v="58" actId="1035"/>
          <ac:spMkLst>
            <pc:docMk/>
            <pc:sldMk cId="4245051077" sldId="2147483591"/>
            <ac:spMk id="79" creationId="{1EE607A5-0702-5B3A-99E3-C92EFAD4880F}"/>
          </ac:spMkLst>
        </pc:spChg>
        <pc:grpChg chg="add mod">
          <ac:chgData name="Fardin Salam" userId="89004a45-f843-4675-a13e-f055c58c14f0" providerId="ADAL" clId="{EC86346C-BECD-43B4-9E2D-230B8F70F74B}" dt="2024-09-12T20:18:05.733" v="58" actId="1035"/>
          <ac:grpSpMkLst>
            <pc:docMk/>
            <pc:sldMk cId="4245051077" sldId="2147483591"/>
            <ac:grpSpMk id="17" creationId="{E208627B-10F3-C0B6-DAA8-0BDD10105A4C}"/>
          </ac:grpSpMkLst>
        </pc:grpChg>
        <pc:grpChg chg="add mod">
          <ac:chgData name="Fardin Salam" userId="89004a45-f843-4675-a13e-f055c58c14f0" providerId="ADAL" clId="{EC86346C-BECD-43B4-9E2D-230B8F70F74B}" dt="2024-09-12T20:18:05.733" v="58" actId="1035"/>
          <ac:grpSpMkLst>
            <pc:docMk/>
            <pc:sldMk cId="4245051077" sldId="2147483591"/>
            <ac:grpSpMk id="20" creationId="{E099F3B7-A177-AB8C-CB73-447C2A0FBF12}"/>
          </ac:grpSpMkLst>
        </pc:grpChg>
        <pc:grpChg chg="add mod">
          <ac:chgData name="Fardin Salam" userId="89004a45-f843-4675-a13e-f055c58c14f0" providerId="ADAL" clId="{EC86346C-BECD-43B4-9E2D-230B8F70F74B}" dt="2024-09-12T20:18:05.733" v="58" actId="1035"/>
          <ac:grpSpMkLst>
            <pc:docMk/>
            <pc:sldMk cId="4245051077" sldId="2147483591"/>
            <ac:grpSpMk id="41" creationId="{3DC44220-7430-1ABD-4A10-82C54AED70A5}"/>
          </ac:grpSpMkLst>
        </pc:grpChg>
        <pc:grpChg chg="add mod">
          <ac:chgData name="Fardin Salam" userId="89004a45-f843-4675-a13e-f055c58c14f0" providerId="ADAL" clId="{EC86346C-BECD-43B4-9E2D-230B8F70F74B}" dt="2024-09-12T20:18:05.733" v="58" actId="1035"/>
          <ac:grpSpMkLst>
            <pc:docMk/>
            <pc:sldMk cId="4245051077" sldId="2147483591"/>
            <ac:grpSpMk id="46" creationId="{F0E36333-CCB9-8FE4-B057-8D28868D1438}"/>
          </ac:grpSpMkLst>
        </pc:grpChg>
        <pc:grpChg chg="add mod">
          <ac:chgData name="Fardin Salam" userId="89004a45-f843-4675-a13e-f055c58c14f0" providerId="ADAL" clId="{EC86346C-BECD-43B4-9E2D-230B8F70F74B}" dt="2024-09-12T20:18:05.733" v="58" actId="1035"/>
          <ac:grpSpMkLst>
            <pc:docMk/>
            <pc:sldMk cId="4245051077" sldId="2147483591"/>
            <ac:grpSpMk id="63" creationId="{53160615-5A83-77BA-B43D-D1EDBDE55453}"/>
          </ac:grpSpMkLst>
        </pc:grpChg>
        <pc:grpChg chg="add mod">
          <ac:chgData name="Fardin Salam" userId="89004a45-f843-4675-a13e-f055c58c14f0" providerId="ADAL" clId="{EC86346C-BECD-43B4-9E2D-230B8F70F74B}" dt="2024-09-12T20:18:05.733" v="58" actId="1035"/>
          <ac:grpSpMkLst>
            <pc:docMk/>
            <pc:sldMk cId="4245051077" sldId="2147483591"/>
            <ac:grpSpMk id="73" creationId="{A70781BC-118F-28E8-A821-D3A7CF09990A}"/>
          </ac:grpSpMkLst>
        </pc:grpChg>
        <pc:picChg chg="add mod">
          <ac:chgData name="Fardin Salam" userId="89004a45-f843-4675-a13e-f055c58c14f0" providerId="ADAL" clId="{EC86346C-BECD-43B4-9E2D-230B8F70F74B}" dt="2024-09-12T20:18:05.733" v="58" actId="1035"/>
          <ac:picMkLst>
            <pc:docMk/>
            <pc:sldMk cId="4245051077" sldId="2147483591"/>
            <ac:picMk id="9" creationId="{366F1C3E-3785-342E-7E63-3CFE83F5EC1A}"/>
          </ac:picMkLst>
        </pc:picChg>
        <pc:picChg chg="add mod">
          <ac:chgData name="Fardin Salam" userId="89004a45-f843-4675-a13e-f055c58c14f0" providerId="ADAL" clId="{EC86346C-BECD-43B4-9E2D-230B8F70F74B}" dt="2024-09-12T20:18:05.733" v="58" actId="1035"/>
          <ac:picMkLst>
            <pc:docMk/>
            <pc:sldMk cId="4245051077" sldId="2147483591"/>
            <ac:picMk id="11" creationId="{5AE7EA60-71D7-51BE-F393-45323F850ED7}"/>
          </ac:picMkLst>
        </pc:picChg>
        <pc:picChg chg="add mod">
          <ac:chgData name="Fardin Salam" userId="89004a45-f843-4675-a13e-f055c58c14f0" providerId="ADAL" clId="{EC86346C-BECD-43B4-9E2D-230B8F70F74B}" dt="2024-09-12T20:18:05.733" v="58" actId="1035"/>
          <ac:picMkLst>
            <pc:docMk/>
            <pc:sldMk cId="4245051077" sldId="2147483591"/>
            <ac:picMk id="13" creationId="{E827FCB0-030D-4A2E-976C-C66AB864A263}"/>
          </ac:picMkLst>
        </pc:picChg>
        <pc:picChg chg="add mod">
          <ac:chgData name="Fardin Salam" userId="89004a45-f843-4675-a13e-f055c58c14f0" providerId="ADAL" clId="{EC86346C-BECD-43B4-9E2D-230B8F70F74B}" dt="2024-09-12T20:18:05.733" v="58" actId="1035"/>
          <ac:picMkLst>
            <pc:docMk/>
            <pc:sldMk cId="4245051077" sldId="2147483591"/>
            <ac:picMk id="14" creationId="{0E8FE1ED-B4F9-83A7-5380-6AAB8B3C7B1C}"/>
          </ac:picMkLst>
        </pc:picChg>
        <pc:picChg chg="mod">
          <ac:chgData name="Fardin Salam" userId="89004a45-f843-4675-a13e-f055c58c14f0" providerId="ADAL" clId="{EC86346C-BECD-43B4-9E2D-230B8F70F74B}" dt="2024-09-12T20:17:57.600" v="48"/>
          <ac:picMkLst>
            <pc:docMk/>
            <pc:sldMk cId="4245051077" sldId="2147483591"/>
            <ac:picMk id="19" creationId="{72C58BC6-E3EE-5EEF-9260-F6FF70AC6DC8}"/>
          </ac:picMkLst>
        </pc:picChg>
        <pc:picChg chg="del">
          <ac:chgData name="Fardin Salam" userId="89004a45-f843-4675-a13e-f055c58c14f0" providerId="ADAL" clId="{EC86346C-BECD-43B4-9E2D-230B8F70F74B}" dt="2024-09-12T20:17:44.726" v="45" actId="478"/>
          <ac:picMkLst>
            <pc:docMk/>
            <pc:sldMk cId="4245051077" sldId="2147483591"/>
            <ac:picMk id="34" creationId="{D34A4899-8DE0-EB4E-2034-B91B212FF5C4}"/>
          </ac:picMkLst>
        </pc:picChg>
        <pc:picChg chg="del">
          <ac:chgData name="Fardin Salam" userId="89004a45-f843-4675-a13e-f055c58c14f0" providerId="ADAL" clId="{EC86346C-BECD-43B4-9E2D-230B8F70F74B}" dt="2024-09-12T20:17:44.726" v="45" actId="478"/>
          <ac:picMkLst>
            <pc:docMk/>
            <pc:sldMk cId="4245051077" sldId="2147483591"/>
            <ac:picMk id="35" creationId="{40B3C079-2BC5-0E2F-E215-FB4CDE2FBAA7}"/>
          </ac:picMkLst>
        </pc:picChg>
        <pc:picChg chg="del">
          <ac:chgData name="Fardin Salam" userId="89004a45-f843-4675-a13e-f055c58c14f0" providerId="ADAL" clId="{EC86346C-BECD-43B4-9E2D-230B8F70F74B}" dt="2024-09-12T20:17:44.726" v="45" actId="478"/>
          <ac:picMkLst>
            <pc:docMk/>
            <pc:sldMk cId="4245051077" sldId="2147483591"/>
            <ac:picMk id="36" creationId="{D6436801-C250-7468-2AC5-21C407A1C4ED}"/>
          </ac:picMkLst>
        </pc:picChg>
        <pc:picChg chg="del">
          <ac:chgData name="Fardin Salam" userId="89004a45-f843-4675-a13e-f055c58c14f0" providerId="ADAL" clId="{EC86346C-BECD-43B4-9E2D-230B8F70F74B}" dt="2024-09-12T20:17:44.726" v="45" actId="478"/>
          <ac:picMkLst>
            <pc:docMk/>
            <pc:sldMk cId="4245051077" sldId="2147483591"/>
            <ac:picMk id="37" creationId="{2D5333D3-DBB0-2135-069E-AC918B09DA78}"/>
          </ac:picMkLst>
        </pc:picChg>
        <pc:picChg chg="del">
          <ac:chgData name="Fardin Salam" userId="89004a45-f843-4675-a13e-f055c58c14f0" providerId="ADAL" clId="{EC86346C-BECD-43B4-9E2D-230B8F70F74B}" dt="2024-09-12T20:17:44.726" v="45" actId="478"/>
          <ac:picMkLst>
            <pc:docMk/>
            <pc:sldMk cId="4245051077" sldId="2147483591"/>
            <ac:picMk id="38" creationId="{EA2399CC-35F1-5F40-5B1F-FA764D9FE415}"/>
          </ac:picMkLst>
        </pc:picChg>
        <pc:picChg chg="mod">
          <ac:chgData name="Fardin Salam" userId="89004a45-f843-4675-a13e-f055c58c14f0" providerId="ADAL" clId="{EC86346C-BECD-43B4-9E2D-230B8F70F74B}" dt="2024-09-12T20:17:57.600" v="48"/>
          <ac:picMkLst>
            <pc:docMk/>
            <pc:sldMk cId="4245051077" sldId="2147483591"/>
            <ac:picMk id="40" creationId="{96C2D5BC-36B9-07DE-4F76-C39DD2DE89F8}"/>
          </ac:picMkLst>
        </pc:picChg>
        <pc:picChg chg="mod">
          <ac:chgData name="Fardin Salam" userId="89004a45-f843-4675-a13e-f055c58c14f0" providerId="ADAL" clId="{EC86346C-BECD-43B4-9E2D-230B8F70F74B}" dt="2024-09-12T20:17:57.600" v="48"/>
          <ac:picMkLst>
            <pc:docMk/>
            <pc:sldMk cId="4245051077" sldId="2147483591"/>
            <ac:picMk id="43" creationId="{8037D8EC-0329-CEF6-92E9-EFCFD7BAEC7E}"/>
          </ac:picMkLst>
        </pc:picChg>
        <pc:picChg chg="add mod">
          <ac:chgData name="Fardin Salam" userId="89004a45-f843-4675-a13e-f055c58c14f0" providerId="ADAL" clId="{EC86346C-BECD-43B4-9E2D-230B8F70F74B}" dt="2024-09-12T20:18:05.733" v="58" actId="1035"/>
          <ac:picMkLst>
            <pc:docMk/>
            <pc:sldMk cId="4245051077" sldId="2147483591"/>
            <ac:picMk id="58" creationId="{DB9CA542-D3B7-980B-0CEB-9F2A8557DC45}"/>
          </ac:picMkLst>
        </pc:picChg>
        <pc:picChg chg="add mod">
          <ac:chgData name="Fardin Salam" userId="89004a45-f843-4675-a13e-f055c58c14f0" providerId="ADAL" clId="{EC86346C-BECD-43B4-9E2D-230B8F70F74B}" dt="2024-09-12T20:18:05.733" v="58" actId="1035"/>
          <ac:picMkLst>
            <pc:docMk/>
            <pc:sldMk cId="4245051077" sldId="2147483591"/>
            <ac:picMk id="60" creationId="{E3660989-E6F5-13DC-B904-4CE75F11EA9D}"/>
          </ac:picMkLst>
        </pc:picChg>
        <pc:picChg chg="mod">
          <ac:chgData name="Fardin Salam" userId="89004a45-f843-4675-a13e-f055c58c14f0" providerId="ADAL" clId="{EC86346C-BECD-43B4-9E2D-230B8F70F74B}" dt="2024-09-12T20:17:57.600" v="48"/>
          <ac:picMkLst>
            <pc:docMk/>
            <pc:sldMk cId="4245051077" sldId="2147483591"/>
            <ac:picMk id="69" creationId="{6A534459-961C-95B2-1330-B31DDA583EEA}"/>
          </ac:picMkLst>
        </pc:picChg>
        <pc:picChg chg="mod">
          <ac:chgData name="Fardin Salam" userId="89004a45-f843-4675-a13e-f055c58c14f0" providerId="ADAL" clId="{EC86346C-BECD-43B4-9E2D-230B8F70F74B}" dt="2024-09-12T20:17:57.600" v="48"/>
          <ac:picMkLst>
            <pc:docMk/>
            <pc:sldMk cId="4245051077" sldId="2147483591"/>
            <ac:picMk id="70" creationId="{C128C924-39DF-1A34-602F-7CF1E3EEF291}"/>
          </ac:picMkLst>
        </pc:picChg>
        <pc:picChg chg="mod">
          <ac:chgData name="Fardin Salam" userId="89004a45-f843-4675-a13e-f055c58c14f0" providerId="ADAL" clId="{EC86346C-BECD-43B4-9E2D-230B8F70F74B}" dt="2024-09-12T20:17:57.600" v="48"/>
          <ac:picMkLst>
            <pc:docMk/>
            <pc:sldMk cId="4245051077" sldId="2147483591"/>
            <ac:picMk id="71" creationId="{D80BF8F6-25D7-3319-BA64-1D94061F6EC1}"/>
          </ac:picMkLst>
        </pc:picChg>
        <pc:picChg chg="mod">
          <ac:chgData name="Fardin Salam" userId="89004a45-f843-4675-a13e-f055c58c14f0" providerId="ADAL" clId="{EC86346C-BECD-43B4-9E2D-230B8F70F74B}" dt="2024-09-12T20:17:57.600" v="48"/>
          <ac:picMkLst>
            <pc:docMk/>
            <pc:sldMk cId="4245051077" sldId="2147483591"/>
            <ac:picMk id="72" creationId="{DECFDBCB-1371-AB94-4A1B-68242C607595}"/>
          </ac:picMkLst>
        </pc:picChg>
        <pc:picChg chg="mod">
          <ac:chgData name="Fardin Salam" userId="89004a45-f843-4675-a13e-f055c58c14f0" providerId="ADAL" clId="{EC86346C-BECD-43B4-9E2D-230B8F70F74B}" dt="2024-09-12T20:17:57.600" v="48"/>
          <ac:picMkLst>
            <pc:docMk/>
            <pc:sldMk cId="4245051077" sldId="2147483591"/>
            <ac:picMk id="76" creationId="{E9FA4F90-2365-AFE3-F59A-520B5A427CB3}"/>
          </ac:picMkLst>
        </pc:picChg>
        <pc:picChg chg="mod">
          <ac:chgData name="Fardin Salam" userId="89004a45-f843-4675-a13e-f055c58c14f0" providerId="ADAL" clId="{EC86346C-BECD-43B4-9E2D-230B8F70F74B}" dt="2024-09-12T20:17:57.600" v="48"/>
          <ac:picMkLst>
            <pc:docMk/>
            <pc:sldMk cId="4245051077" sldId="2147483591"/>
            <ac:picMk id="78" creationId="{D3DB6043-42DB-B0BB-CC0D-D059FEB0727A}"/>
          </ac:picMkLst>
        </pc:picChg>
      </pc:sldChg>
      <pc:sldChg chg="addSp delSp modSp mod">
        <pc:chgData name="Fardin Salam" userId="89004a45-f843-4675-a13e-f055c58c14f0" providerId="ADAL" clId="{EC86346C-BECD-43B4-9E2D-230B8F70F74B}" dt="2024-09-12T20:18:46.066" v="65"/>
        <pc:sldMkLst>
          <pc:docMk/>
          <pc:sldMk cId="2443535342" sldId="2147483592"/>
        </pc:sldMkLst>
        <pc:spChg chg="del">
          <ac:chgData name="Fardin Salam" userId="89004a45-f843-4675-a13e-f055c58c14f0" providerId="ADAL" clId="{EC86346C-BECD-43B4-9E2D-230B8F70F74B}" dt="2024-09-12T20:18:39.399" v="63" actId="478"/>
          <ac:spMkLst>
            <pc:docMk/>
            <pc:sldMk cId="2443535342" sldId="2147483592"/>
            <ac:spMk id="2" creationId="{A724A40E-3C0E-8696-EDCD-B5C3BB15DB35}"/>
          </ac:spMkLst>
        </pc:spChg>
        <pc:spChg chg="del">
          <ac:chgData name="Fardin Salam" userId="89004a45-f843-4675-a13e-f055c58c14f0" providerId="ADAL" clId="{EC86346C-BECD-43B4-9E2D-230B8F70F74B}" dt="2024-09-12T20:18:37.568" v="62" actId="478"/>
          <ac:spMkLst>
            <pc:docMk/>
            <pc:sldMk cId="2443535342" sldId="2147483592"/>
            <ac:spMk id="3" creationId="{8D36D133-EC68-0933-1D6B-345767E3AFF4}"/>
          </ac:spMkLst>
        </pc:spChg>
        <pc:spChg chg="del">
          <ac:chgData name="Fardin Salam" userId="89004a45-f843-4675-a13e-f055c58c14f0" providerId="ADAL" clId="{EC86346C-BECD-43B4-9E2D-230B8F70F74B}" dt="2024-09-12T20:18:37.568" v="62" actId="478"/>
          <ac:spMkLst>
            <pc:docMk/>
            <pc:sldMk cId="2443535342" sldId="2147483592"/>
            <ac:spMk id="4" creationId="{7018F1D3-3A4C-889A-8250-EC684895AA8F}"/>
          </ac:spMkLst>
        </pc:spChg>
        <pc:spChg chg="del">
          <ac:chgData name="Fardin Salam" userId="89004a45-f843-4675-a13e-f055c58c14f0" providerId="ADAL" clId="{EC86346C-BECD-43B4-9E2D-230B8F70F74B}" dt="2024-09-12T20:18:37.568" v="62" actId="478"/>
          <ac:spMkLst>
            <pc:docMk/>
            <pc:sldMk cId="2443535342" sldId="2147483592"/>
            <ac:spMk id="5" creationId="{A7EA0C08-15CA-0EE4-C95D-F2CCCC89E844}"/>
          </ac:spMkLst>
        </pc:spChg>
        <pc:spChg chg="del">
          <ac:chgData name="Fardin Salam" userId="89004a45-f843-4675-a13e-f055c58c14f0" providerId="ADAL" clId="{EC86346C-BECD-43B4-9E2D-230B8F70F74B}" dt="2024-09-12T20:18:37.568" v="62" actId="478"/>
          <ac:spMkLst>
            <pc:docMk/>
            <pc:sldMk cId="2443535342" sldId="2147483592"/>
            <ac:spMk id="6" creationId="{05964D64-263C-C448-4803-42B9D49080FB}"/>
          </ac:spMkLst>
        </pc:spChg>
        <pc:spChg chg="del">
          <ac:chgData name="Fardin Salam" userId="89004a45-f843-4675-a13e-f055c58c14f0" providerId="ADAL" clId="{EC86346C-BECD-43B4-9E2D-230B8F70F74B}" dt="2024-09-12T20:18:37.568" v="62" actId="478"/>
          <ac:spMkLst>
            <pc:docMk/>
            <pc:sldMk cId="2443535342" sldId="2147483592"/>
            <ac:spMk id="7" creationId="{099C2E4A-F4DD-4579-BB76-B7AEE607CAB2}"/>
          </ac:spMkLst>
        </pc:spChg>
        <pc:spChg chg="del">
          <ac:chgData name="Fardin Salam" userId="89004a45-f843-4675-a13e-f055c58c14f0" providerId="ADAL" clId="{EC86346C-BECD-43B4-9E2D-230B8F70F74B}" dt="2024-09-12T20:18:37.568" v="62" actId="478"/>
          <ac:spMkLst>
            <pc:docMk/>
            <pc:sldMk cId="2443535342" sldId="2147483592"/>
            <ac:spMk id="8" creationId="{E631FF82-186B-1B9A-348C-7971448FEA34}"/>
          </ac:spMkLst>
        </pc:spChg>
        <pc:spChg chg="del">
          <ac:chgData name="Fardin Salam" userId="89004a45-f843-4675-a13e-f055c58c14f0" providerId="ADAL" clId="{EC86346C-BECD-43B4-9E2D-230B8F70F74B}" dt="2024-09-12T20:18:37.568" v="62" actId="478"/>
          <ac:spMkLst>
            <pc:docMk/>
            <pc:sldMk cId="2443535342" sldId="2147483592"/>
            <ac:spMk id="9" creationId="{0D4B96A8-30BA-1268-E786-20B9F2372647}"/>
          </ac:spMkLst>
        </pc:spChg>
        <pc:spChg chg="del">
          <ac:chgData name="Fardin Salam" userId="89004a45-f843-4675-a13e-f055c58c14f0" providerId="ADAL" clId="{EC86346C-BECD-43B4-9E2D-230B8F70F74B}" dt="2024-09-12T20:18:37.568" v="62" actId="478"/>
          <ac:spMkLst>
            <pc:docMk/>
            <pc:sldMk cId="2443535342" sldId="2147483592"/>
            <ac:spMk id="10" creationId="{F0F36408-2578-47B0-6026-81FFB7DAA50A}"/>
          </ac:spMkLst>
        </pc:spChg>
        <pc:spChg chg="del">
          <ac:chgData name="Fardin Salam" userId="89004a45-f843-4675-a13e-f055c58c14f0" providerId="ADAL" clId="{EC86346C-BECD-43B4-9E2D-230B8F70F74B}" dt="2024-09-12T20:18:37.568" v="62" actId="478"/>
          <ac:spMkLst>
            <pc:docMk/>
            <pc:sldMk cId="2443535342" sldId="2147483592"/>
            <ac:spMk id="11" creationId="{0708ADDF-09BC-42F1-836D-B6D8CD52A19C}"/>
          </ac:spMkLst>
        </pc:spChg>
        <pc:spChg chg="del">
          <ac:chgData name="Fardin Salam" userId="89004a45-f843-4675-a13e-f055c58c14f0" providerId="ADAL" clId="{EC86346C-BECD-43B4-9E2D-230B8F70F74B}" dt="2024-09-12T20:18:37.568" v="62" actId="478"/>
          <ac:spMkLst>
            <pc:docMk/>
            <pc:sldMk cId="2443535342" sldId="2147483592"/>
            <ac:spMk id="12" creationId="{FDE88644-07E4-EBC1-A6C7-AA5608FA45F5}"/>
          </ac:spMkLst>
        </pc:spChg>
        <pc:spChg chg="del">
          <ac:chgData name="Fardin Salam" userId="89004a45-f843-4675-a13e-f055c58c14f0" providerId="ADAL" clId="{EC86346C-BECD-43B4-9E2D-230B8F70F74B}" dt="2024-09-12T20:18:37.568" v="62" actId="478"/>
          <ac:spMkLst>
            <pc:docMk/>
            <pc:sldMk cId="2443535342" sldId="2147483592"/>
            <ac:spMk id="13" creationId="{D96F783E-4314-18FB-C492-9A34C687E778}"/>
          </ac:spMkLst>
        </pc:spChg>
        <pc:spChg chg="del">
          <ac:chgData name="Fardin Salam" userId="89004a45-f843-4675-a13e-f055c58c14f0" providerId="ADAL" clId="{EC86346C-BECD-43B4-9E2D-230B8F70F74B}" dt="2024-09-12T20:18:37.568" v="62" actId="478"/>
          <ac:spMkLst>
            <pc:docMk/>
            <pc:sldMk cId="2443535342" sldId="2147483592"/>
            <ac:spMk id="14" creationId="{527D9446-A682-F32D-57B8-F77DC2AD5B74}"/>
          </ac:spMkLst>
        </pc:spChg>
        <pc:spChg chg="del">
          <ac:chgData name="Fardin Salam" userId="89004a45-f843-4675-a13e-f055c58c14f0" providerId="ADAL" clId="{EC86346C-BECD-43B4-9E2D-230B8F70F74B}" dt="2024-09-12T20:18:37.568" v="62" actId="478"/>
          <ac:spMkLst>
            <pc:docMk/>
            <pc:sldMk cId="2443535342" sldId="2147483592"/>
            <ac:spMk id="15" creationId="{C3F3BDA3-3C28-050E-950F-52E32C4F88FF}"/>
          </ac:spMkLst>
        </pc:spChg>
        <pc:spChg chg="del">
          <ac:chgData name="Fardin Salam" userId="89004a45-f843-4675-a13e-f055c58c14f0" providerId="ADAL" clId="{EC86346C-BECD-43B4-9E2D-230B8F70F74B}" dt="2024-09-12T20:18:37.568" v="62" actId="478"/>
          <ac:spMkLst>
            <pc:docMk/>
            <pc:sldMk cId="2443535342" sldId="2147483592"/>
            <ac:spMk id="16" creationId="{E9BBF700-576B-27B7-5106-29BB4615887E}"/>
          </ac:spMkLst>
        </pc:spChg>
        <pc:spChg chg="del">
          <ac:chgData name="Fardin Salam" userId="89004a45-f843-4675-a13e-f055c58c14f0" providerId="ADAL" clId="{EC86346C-BECD-43B4-9E2D-230B8F70F74B}" dt="2024-09-12T20:18:37.568" v="62" actId="478"/>
          <ac:spMkLst>
            <pc:docMk/>
            <pc:sldMk cId="2443535342" sldId="2147483592"/>
            <ac:spMk id="17" creationId="{3801C19D-CB45-3899-DC83-AD54558FCCB1}"/>
          </ac:spMkLst>
        </pc:spChg>
        <pc:spChg chg="del">
          <ac:chgData name="Fardin Salam" userId="89004a45-f843-4675-a13e-f055c58c14f0" providerId="ADAL" clId="{EC86346C-BECD-43B4-9E2D-230B8F70F74B}" dt="2024-09-12T20:18:37.568" v="62" actId="478"/>
          <ac:spMkLst>
            <pc:docMk/>
            <pc:sldMk cId="2443535342" sldId="2147483592"/>
            <ac:spMk id="18" creationId="{C2821829-7B4D-3282-A937-AD9100C9EA6A}"/>
          </ac:spMkLst>
        </pc:spChg>
        <pc:spChg chg="del">
          <ac:chgData name="Fardin Salam" userId="89004a45-f843-4675-a13e-f055c58c14f0" providerId="ADAL" clId="{EC86346C-BECD-43B4-9E2D-230B8F70F74B}" dt="2024-09-12T20:18:37.568" v="62" actId="478"/>
          <ac:spMkLst>
            <pc:docMk/>
            <pc:sldMk cId="2443535342" sldId="2147483592"/>
            <ac:spMk id="19" creationId="{CB91DA6E-D7FE-0EFF-3F50-25CCFE9147FB}"/>
          </ac:spMkLst>
        </pc:spChg>
        <pc:spChg chg="del">
          <ac:chgData name="Fardin Salam" userId="89004a45-f843-4675-a13e-f055c58c14f0" providerId="ADAL" clId="{EC86346C-BECD-43B4-9E2D-230B8F70F74B}" dt="2024-09-12T20:18:37.568" v="62" actId="478"/>
          <ac:spMkLst>
            <pc:docMk/>
            <pc:sldMk cId="2443535342" sldId="2147483592"/>
            <ac:spMk id="20" creationId="{C2E75536-29BB-EB6F-45A5-F5CC79899965}"/>
          </ac:spMkLst>
        </pc:spChg>
        <pc:spChg chg="del">
          <ac:chgData name="Fardin Salam" userId="89004a45-f843-4675-a13e-f055c58c14f0" providerId="ADAL" clId="{EC86346C-BECD-43B4-9E2D-230B8F70F74B}" dt="2024-09-12T20:18:37.568" v="62" actId="478"/>
          <ac:spMkLst>
            <pc:docMk/>
            <pc:sldMk cId="2443535342" sldId="2147483592"/>
            <ac:spMk id="21" creationId="{A4730019-F1AA-10E2-7E33-21FBE6F0C0FE}"/>
          </ac:spMkLst>
        </pc:spChg>
        <pc:spChg chg="del">
          <ac:chgData name="Fardin Salam" userId="89004a45-f843-4675-a13e-f055c58c14f0" providerId="ADAL" clId="{EC86346C-BECD-43B4-9E2D-230B8F70F74B}" dt="2024-09-12T20:18:37.568" v="62" actId="478"/>
          <ac:spMkLst>
            <pc:docMk/>
            <pc:sldMk cId="2443535342" sldId="2147483592"/>
            <ac:spMk id="22" creationId="{D3149C5C-E91C-3D64-09D0-676414B275E6}"/>
          </ac:spMkLst>
        </pc:spChg>
        <pc:spChg chg="del">
          <ac:chgData name="Fardin Salam" userId="89004a45-f843-4675-a13e-f055c58c14f0" providerId="ADAL" clId="{EC86346C-BECD-43B4-9E2D-230B8F70F74B}" dt="2024-09-12T20:18:37.568" v="62" actId="478"/>
          <ac:spMkLst>
            <pc:docMk/>
            <pc:sldMk cId="2443535342" sldId="2147483592"/>
            <ac:spMk id="23" creationId="{16CC14FF-3CC1-807C-10DD-0EB19B7E7A12}"/>
          </ac:spMkLst>
        </pc:spChg>
        <pc:spChg chg="del">
          <ac:chgData name="Fardin Salam" userId="89004a45-f843-4675-a13e-f055c58c14f0" providerId="ADAL" clId="{EC86346C-BECD-43B4-9E2D-230B8F70F74B}" dt="2024-09-12T20:18:37.568" v="62" actId="478"/>
          <ac:spMkLst>
            <pc:docMk/>
            <pc:sldMk cId="2443535342" sldId="2147483592"/>
            <ac:spMk id="24" creationId="{3B64CB86-B438-225D-826D-462F1F0FB6C0}"/>
          </ac:spMkLst>
        </pc:spChg>
        <pc:spChg chg="del">
          <ac:chgData name="Fardin Salam" userId="89004a45-f843-4675-a13e-f055c58c14f0" providerId="ADAL" clId="{EC86346C-BECD-43B4-9E2D-230B8F70F74B}" dt="2024-09-12T20:18:37.568" v="62" actId="478"/>
          <ac:spMkLst>
            <pc:docMk/>
            <pc:sldMk cId="2443535342" sldId="2147483592"/>
            <ac:spMk id="25" creationId="{F20F6657-E8FE-7259-9CD1-0F545C885E77}"/>
          </ac:spMkLst>
        </pc:spChg>
        <pc:spChg chg="del">
          <ac:chgData name="Fardin Salam" userId="89004a45-f843-4675-a13e-f055c58c14f0" providerId="ADAL" clId="{EC86346C-BECD-43B4-9E2D-230B8F70F74B}" dt="2024-09-12T20:18:37.568" v="62" actId="478"/>
          <ac:spMkLst>
            <pc:docMk/>
            <pc:sldMk cId="2443535342" sldId="2147483592"/>
            <ac:spMk id="26" creationId="{342F4A50-3F7A-7418-7C2A-C90950678FB4}"/>
          </ac:spMkLst>
        </pc:spChg>
        <pc:spChg chg="del">
          <ac:chgData name="Fardin Salam" userId="89004a45-f843-4675-a13e-f055c58c14f0" providerId="ADAL" clId="{EC86346C-BECD-43B4-9E2D-230B8F70F74B}" dt="2024-09-12T20:18:37.568" v="62" actId="478"/>
          <ac:spMkLst>
            <pc:docMk/>
            <pc:sldMk cId="2443535342" sldId="2147483592"/>
            <ac:spMk id="33" creationId="{3867890F-CC57-0E0B-ED7F-D9AE8047E2D4}"/>
          </ac:spMkLst>
        </pc:spChg>
        <pc:spChg chg="del">
          <ac:chgData name="Fardin Salam" userId="89004a45-f843-4675-a13e-f055c58c14f0" providerId="ADAL" clId="{EC86346C-BECD-43B4-9E2D-230B8F70F74B}" dt="2024-09-12T20:18:37.568" v="62" actId="478"/>
          <ac:spMkLst>
            <pc:docMk/>
            <pc:sldMk cId="2443535342" sldId="2147483592"/>
            <ac:spMk id="34" creationId="{29157911-C589-8326-BF42-2BFB4F1C3E73}"/>
          </ac:spMkLst>
        </pc:spChg>
        <pc:spChg chg="add del mod">
          <ac:chgData name="Fardin Salam" userId="89004a45-f843-4675-a13e-f055c58c14f0" providerId="ADAL" clId="{EC86346C-BECD-43B4-9E2D-230B8F70F74B}" dt="2024-09-12T20:18:40.103" v="64" actId="478"/>
          <ac:spMkLst>
            <pc:docMk/>
            <pc:sldMk cId="2443535342" sldId="2147483592"/>
            <ac:spMk id="36" creationId="{A97EAAED-0EEF-93BF-30ED-C10D45E57C9E}"/>
          </ac:spMkLst>
        </pc:spChg>
        <pc:spChg chg="add mod">
          <ac:chgData name="Fardin Salam" userId="89004a45-f843-4675-a13e-f055c58c14f0" providerId="ADAL" clId="{EC86346C-BECD-43B4-9E2D-230B8F70F74B}" dt="2024-09-12T20:18:46.066" v="65"/>
          <ac:spMkLst>
            <pc:docMk/>
            <pc:sldMk cId="2443535342" sldId="2147483592"/>
            <ac:spMk id="37" creationId="{0751A6E8-46CB-6FEE-E08F-75CFCA159995}"/>
          </ac:spMkLst>
        </pc:spChg>
        <pc:spChg chg="add mod">
          <ac:chgData name="Fardin Salam" userId="89004a45-f843-4675-a13e-f055c58c14f0" providerId="ADAL" clId="{EC86346C-BECD-43B4-9E2D-230B8F70F74B}" dt="2024-09-12T20:18:46.066" v="65"/>
          <ac:spMkLst>
            <pc:docMk/>
            <pc:sldMk cId="2443535342" sldId="2147483592"/>
            <ac:spMk id="38" creationId="{41D60804-F967-C0C6-4440-ED9B378CB8E6}"/>
          </ac:spMkLst>
        </pc:spChg>
        <pc:spChg chg="add mod">
          <ac:chgData name="Fardin Salam" userId="89004a45-f843-4675-a13e-f055c58c14f0" providerId="ADAL" clId="{EC86346C-BECD-43B4-9E2D-230B8F70F74B}" dt="2024-09-12T20:18:46.066" v="65"/>
          <ac:spMkLst>
            <pc:docMk/>
            <pc:sldMk cId="2443535342" sldId="2147483592"/>
            <ac:spMk id="39" creationId="{F0F99D5B-D05C-F8D6-8F24-1F79C20287DD}"/>
          </ac:spMkLst>
        </pc:spChg>
        <pc:spChg chg="add mod">
          <ac:chgData name="Fardin Salam" userId="89004a45-f843-4675-a13e-f055c58c14f0" providerId="ADAL" clId="{EC86346C-BECD-43B4-9E2D-230B8F70F74B}" dt="2024-09-12T20:18:46.066" v="65"/>
          <ac:spMkLst>
            <pc:docMk/>
            <pc:sldMk cId="2443535342" sldId="2147483592"/>
            <ac:spMk id="41" creationId="{631CDC5E-3310-7989-7F0B-21E2D380B1DE}"/>
          </ac:spMkLst>
        </pc:spChg>
        <pc:spChg chg="add mod">
          <ac:chgData name="Fardin Salam" userId="89004a45-f843-4675-a13e-f055c58c14f0" providerId="ADAL" clId="{EC86346C-BECD-43B4-9E2D-230B8F70F74B}" dt="2024-09-12T20:18:46.066" v="65"/>
          <ac:spMkLst>
            <pc:docMk/>
            <pc:sldMk cId="2443535342" sldId="2147483592"/>
            <ac:spMk id="42" creationId="{0F144213-8EBA-8163-7486-0F739241E143}"/>
          </ac:spMkLst>
        </pc:spChg>
        <pc:spChg chg="add mod">
          <ac:chgData name="Fardin Salam" userId="89004a45-f843-4675-a13e-f055c58c14f0" providerId="ADAL" clId="{EC86346C-BECD-43B4-9E2D-230B8F70F74B}" dt="2024-09-12T20:18:46.066" v="65"/>
          <ac:spMkLst>
            <pc:docMk/>
            <pc:sldMk cId="2443535342" sldId="2147483592"/>
            <ac:spMk id="51" creationId="{A1B2A8CF-D8FB-4F98-318F-F3C9B26B9515}"/>
          </ac:spMkLst>
        </pc:spChg>
        <pc:picChg chg="del">
          <ac:chgData name="Fardin Salam" userId="89004a45-f843-4675-a13e-f055c58c14f0" providerId="ADAL" clId="{EC86346C-BECD-43B4-9E2D-230B8F70F74B}" dt="2024-09-12T20:18:37.568" v="62" actId="478"/>
          <ac:picMkLst>
            <pc:docMk/>
            <pc:sldMk cId="2443535342" sldId="2147483592"/>
            <ac:picMk id="27" creationId="{263C40E2-3C8B-C1A7-512D-83D23B926302}"/>
          </ac:picMkLst>
        </pc:picChg>
        <pc:picChg chg="del">
          <ac:chgData name="Fardin Salam" userId="89004a45-f843-4675-a13e-f055c58c14f0" providerId="ADAL" clId="{EC86346C-BECD-43B4-9E2D-230B8F70F74B}" dt="2024-09-12T20:18:37.568" v="62" actId="478"/>
          <ac:picMkLst>
            <pc:docMk/>
            <pc:sldMk cId="2443535342" sldId="2147483592"/>
            <ac:picMk id="28" creationId="{1F5E7ED1-76B7-6CCB-DEAB-2C5A377E819F}"/>
          </ac:picMkLst>
        </pc:picChg>
        <pc:picChg chg="del">
          <ac:chgData name="Fardin Salam" userId="89004a45-f843-4675-a13e-f055c58c14f0" providerId="ADAL" clId="{EC86346C-BECD-43B4-9E2D-230B8F70F74B}" dt="2024-09-12T20:18:37.568" v="62" actId="478"/>
          <ac:picMkLst>
            <pc:docMk/>
            <pc:sldMk cId="2443535342" sldId="2147483592"/>
            <ac:picMk id="29" creationId="{AFB3E54E-D26D-B710-E8AC-BD903A1FE6EC}"/>
          </ac:picMkLst>
        </pc:picChg>
        <pc:picChg chg="del">
          <ac:chgData name="Fardin Salam" userId="89004a45-f843-4675-a13e-f055c58c14f0" providerId="ADAL" clId="{EC86346C-BECD-43B4-9E2D-230B8F70F74B}" dt="2024-09-12T20:18:37.568" v="62" actId="478"/>
          <ac:picMkLst>
            <pc:docMk/>
            <pc:sldMk cId="2443535342" sldId="2147483592"/>
            <ac:picMk id="30" creationId="{CE82EF63-DCDC-4EFA-1BA4-84864453CFE2}"/>
          </ac:picMkLst>
        </pc:picChg>
        <pc:picChg chg="del">
          <ac:chgData name="Fardin Salam" userId="89004a45-f843-4675-a13e-f055c58c14f0" providerId="ADAL" clId="{EC86346C-BECD-43B4-9E2D-230B8F70F74B}" dt="2024-09-12T20:18:37.568" v="62" actId="478"/>
          <ac:picMkLst>
            <pc:docMk/>
            <pc:sldMk cId="2443535342" sldId="2147483592"/>
            <ac:picMk id="31" creationId="{79AFCB1E-6803-F94D-7527-C60C11E83F23}"/>
          </ac:picMkLst>
        </pc:picChg>
        <pc:picChg chg="del">
          <ac:chgData name="Fardin Salam" userId="89004a45-f843-4675-a13e-f055c58c14f0" providerId="ADAL" clId="{EC86346C-BECD-43B4-9E2D-230B8F70F74B}" dt="2024-09-12T20:18:37.568" v="62" actId="478"/>
          <ac:picMkLst>
            <pc:docMk/>
            <pc:sldMk cId="2443535342" sldId="2147483592"/>
            <ac:picMk id="32" creationId="{9A43301C-2A04-B8A6-5D10-439199E832F6}"/>
          </ac:picMkLst>
        </pc:picChg>
        <pc:picChg chg="add mod">
          <ac:chgData name="Fardin Salam" userId="89004a45-f843-4675-a13e-f055c58c14f0" providerId="ADAL" clId="{EC86346C-BECD-43B4-9E2D-230B8F70F74B}" dt="2024-09-12T20:18:46.066" v="65"/>
          <ac:picMkLst>
            <pc:docMk/>
            <pc:sldMk cId="2443535342" sldId="2147483592"/>
            <ac:picMk id="40" creationId="{CD649CA2-0B42-76DA-D674-E69641BD0384}"/>
          </ac:picMkLst>
        </pc:picChg>
        <pc:picChg chg="add mod">
          <ac:chgData name="Fardin Salam" userId="89004a45-f843-4675-a13e-f055c58c14f0" providerId="ADAL" clId="{EC86346C-BECD-43B4-9E2D-230B8F70F74B}" dt="2024-09-12T20:18:46.066" v="65"/>
          <ac:picMkLst>
            <pc:docMk/>
            <pc:sldMk cId="2443535342" sldId="2147483592"/>
            <ac:picMk id="43" creationId="{06FD116A-DB4B-4E73-ACCC-C4FA54EA02A9}"/>
          </ac:picMkLst>
        </pc:picChg>
        <pc:picChg chg="add mod">
          <ac:chgData name="Fardin Salam" userId="89004a45-f843-4675-a13e-f055c58c14f0" providerId="ADAL" clId="{EC86346C-BECD-43B4-9E2D-230B8F70F74B}" dt="2024-09-12T20:18:46.066" v="65"/>
          <ac:picMkLst>
            <pc:docMk/>
            <pc:sldMk cId="2443535342" sldId="2147483592"/>
            <ac:picMk id="44" creationId="{034E0F15-CB49-A316-8273-330C20B92A06}"/>
          </ac:picMkLst>
        </pc:picChg>
        <pc:picChg chg="add mod">
          <ac:chgData name="Fardin Salam" userId="89004a45-f843-4675-a13e-f055c58c14f0" providerId="ADAL" clId="{EC86346C-BECD-43B4-9E2D-230B8F70F74B}" dt="2024-09-12T20:18:46.066" v="65"/>
          <ac:picMkLst>
            <pc:docMk/>
            <pc:sldMk cId="2443535342" sldId="2147483592"/>
            <ac:picMk id="45" creationId="{9EE7B277-9FE5-C42D-D600-947B5A6346B2}"/>
          </ac:picMkLst>
        </pc:picChg>
        <pc:picChg chg="add mod">
          <ac:chgData name="Fardin Salam" userId="89004a45-f843-4675-a13e-f055c58c14f0" providerId="ADAL" clId="{EC86346C-BECD-43B4-9E2D-230B8F70F74B}" dt="2024-09-12T20:18:46.066" v="65"/>
          <ac:picMkLst>
            <pc:docMk/>
            <pc:sldMk cId="2443535342" sldId="2147483592"/>
            <ac:picMk id="46" creationId="{5A21C7F1-B4AD-2C08-0C26-FCF04CF9A859}"/>
          </ac:picMkLst>
        </pc:picChg>
        <pc:picChg chg="add mod">
          <ac:chgData name="Fardin Salam" userId="89004a45-f843-4675-a13e-f055c58c14f0" providerId="ADAL" clId="{EC86346C-BECD-43B4-9E2D-230B8F70F74B}" dt="2024-09-12T20:18:46.066" v="65"/>
          <ac:picMkLst>
            <pc:docMk/>
            <pc:sldMk cId="2443535342" sldId="2147483592"/>
            <ac:picMk id="47" creationId="{FC60BA82-C3B3-DAD0-F79B-3F6D311FBEF7}"/>
          </ac:picMkLst>
        </pc:picChg>
        <pc:picChg chg="add mod">
          <ac:chgData name="Fardin Salam" userId="89004a45-f843-4675-a13e-f055c58c14f0" providerId="ADAL" clId="{EC86346C-BECD-43B4-9E2D-230B8F70F74B}" dt="2024-09-12T20:18:46.066" v="65"/>
          <ac:picMkLst>
            <pc:docMk/>
            <pc:sldMk cId="2443535342" sldId="2147483592"/>
            <ac:picMk id="48" creationId="{51D581C6-5566-973F-7E4E-9DCB9C24AF42}"/>
          </ac:picMkLst>
        </pc:picChg>
        <pc:picChg chg="add mod">
          <ac:chgData name="Fardin Salam" userId="89004a45-f843-4675-a13e-f055c58c14f0" providerId="ADAL" clId="{EC86346C-BECD-43B4-9E2D-230B8F70F74B}" dt="2024-09-12T20:18:46.066" v="65"/>
          <ac:picMkLst>
            <pc:docMk/>
            <pc:sldMk cId="2443535342" sldId="2147483592"/>
            <ac:picMk id="49" creationId="{FE8EF28E-0572-7370-AE3B-88876B9C57CB}"/>
          </ac:picMkLst>
        </pc:picChg>
        <pc:picChg chg="add mod">
          <ac:chgData name="Fardin Salam" userId="89004a45-f843-4675-a13e-f055c58c14f0" providerId="ADAL" clId="{EC86346C-BECD-43B4-9E2D-230B8F70F74B}" dt="2024-09-12T20:18:46.066" v="65"/>
          <ac:picMkLst>
            <pc:docMk/>
            <pc:sldMk cId="2443535342" sldId="2147483592"/>
            <ac:picMk id="50" creationId="{004C6079-EEF7-94A0-4E12-32FAA2C59656}"/>
          </ac:picMkLst>
        </pc:picChg>
      </pc:sldChg>
      <pc:sldChg chg="delSp modSp new mod">
        <pc:chgData name="Fardin Salam" userId="89004a45-f843-4675-a13e-f055c58c14f0" providerId="ADAL" clId="{EC86346C-BECD-43B4-9E2D-230B8F70F74B}" dt="2024-09-12T20:41:37.112" v="210" actId="1076"/>
        <pc:sldMkLst>
          <pc:docMk/>
          <pc:sldMk cId="2604447998" sldId="2147483593"/>
        </pc:sldMkLst>
        <pc:spChg chg="del">
          <ac:chgData name="Fardin Salam" userId="89004a45-f843-4675-a13e-f055c58c14f0" providerId="ADAL" clId="{EC86346C-BECD-43B4-9E2D-230B8F70F74B}" dt="2024-09-12T20:39:38.184" v="87" actId="478"/>
          <ac:spMkLst>
            <pc:docMk/>
            <pc:sldMk cId="2604447998" sldId="2147483593"/>
            <ac:spMk id="2" creationId="{4E887692-F98D-FD08-2E41-571ACB6996D2}"/>
          </ac:spMkLst>
        </pc:spChg>
        <pc:spChg chg="del">
          <ac:chgData name="Fardin Salam" userId="89004a45-f843-4675-a13e-f055c58c14f0" providerId="ADAL" clId="{EC86346C-BECD-43B4-9E2D-230B8F70F74B}" dt="2024-09-12T20:39:40.423" v="88" actId="478"/>
          <ac:spMkLst>
            <pc:docMk/>
            <pc:sldMk cId="2604447998" sldId="2147483593"/>
            <ac:spMk id="3" creationId="{8B00E8E9-FF0A-AE0E-6226-BF3A29F81967}"/>
          </ac:spMkLst>
        </pc:spChg>
        <pc:spChg chg="del">
          <ac:chgData name="Fardin Salam" userId="89004a45-f843-4675-a13e-f055c58c14f0" providerId="ADAL" clId="{EC86346C-BECD-43B4-9E2D-230B8F70F74B}" dt="2024-09-12T20:39:42.528" v="89" actId="478"/>
          <ac:spMkLst>
            <pc:docMk/>
            <pc:sldMk cId="2604447998" sldId="2147483593"/>
            <ac:spMk id="4" creationId="{A65DA237-5DAB-A779-AE1D-808214366216}"/>
          </ac:spMkLst>
        </pc:spChg>
        <pc:spChg chg="mod">
          <ac:chgData name="Fardin Salam" userId="89004a45-f843-4675-a13e-f055c58c14f0" providerId="ADAL" clId="{EC86346C-BECD-43B4-9E2D-230B8F70F74B}" dt="2024-09-12T20:41:37.112" v="210" actId="1076"/>
          <ac:spMkLst>
            <pc:docMk/>
            <pc:sldMk cId="2604447998" sldId="2147483593"/>
            <ac:spMk id="5" creationId="{C6A5762B-3C11-9761-E1EE-DC626418F73C}"/>
          </ac:spMkLst>
        </pc:spChg>
      </pc:sldChg>
      <pc:sldMasterChg chg="del addSldLayout delSldLayout">
        <pc:chgData name="Fardin Salam" userId="89004a45-f843-4675-a13e-f055c58c14f0" providerId="ADAL" clId="{EC86346C-BECD-43B4-9E2D-230B8F70F74B}" dt="2024-09-12T20:18:52.025" v="66" actId="47"/>
        <pc:sldMasterMkLst>
          <pc:docMk/>
          <pc:sldMasterMk cId="3961590733" sldId="2147483830"/>
        </pc:sldMasterMkLst>
        <pc:sldLayoutChg chg="del">
          <pc:chgData name="Fardin Salam" userId="89004a45-f843-4675-a13e-f055c58c14f0" providerId="ADAL" clId="{EC86346C-BECD-43B4-9E2D-230B8F70F74B}" dt="2024-09-12T20:18:52.025" v="66" actId="47"/>
          <pc:sldLayoutMkLst>
            <pc:docMk/>
            <pc:sldMasterMk cId="3961590733" sldId="2147483830"/>
            <pc:sldLayoutMk cId="2783680745" sldId="2147483946"/>
          </pc:sldLayoutMkLst>
        </pc:sldLayoutChg>
        <pc:sldLayoutChg chg="del">
          <pc:chgData name="Fardin Salam" userId="89004a45-f843-4675-a13e-f055c58c14f0" providerId="ADAL" clId="{EC86346C-BECD-43B4-9E2D-230B8F70F74B}" dt="2024-09-12T20:18:52.025" v="66" actId="47"/>
          <pc:sldLayoutMkLst>
            <pc:docMk/>
            <pc:sldMasterMk cId="3961590733" sldId="2147483830"/>
            <pc:sldLayoutMk cId="82226267" sldId="2147483949"/>
          </pc:sldLayoutMkLst>
        </pc:sldLayoutChg>
        <pc:sldLayoutChg chg="add del">
          <pc:chgData name="Fardin Salam" userId="89004a45-f843-4675-a13e-f055c58c14f0" providerId="ADAL" clId="{EC86346C-BECD-43B4-9E2D-230B8F70F74B}" dt="2024-09-12T20:18:20.446" v="61" actId="47"/>
          <pc:sldLayoutMkLst>
            <pc:docMk/>
            <pc:sldMasterMk cId="3961590733" sldId="2147483830"/>
            <pc:sldLayoutMk cId="750511567" sldId="2147484022"/>
          </pc:sldLayoutMkLst>
        </pc:sldLayoutChg>
      </pc:sldMasterChg>
      <pc:sldMasterChg chg="del delSldLayout">
        <pc:chgData name="Fardin Salam" userId="89004a45-f843-4675-a13e-f055c58c14f0" providerId="ADAL" clId="{EC86346C-BECD-43B4-9E2D-230B8F70F74B}" dt="2024-09-12T19:23:07.267" v="9" actId="47"/>
        <pc:sldMasterMkLst>
          <pc:docMk/>
          <pc:sldMasterMk cId="1888852035" sldId="2147484022"/>
        </pc:sldMasterMkLst>
        <pc:sldLayoutChg chg="del">
          <pc:chgData name="Fardin Salam" userId="89004a45-f843-4675-a13e-f055c58c14f0" providerId="ADAL" clId="{EC86346C-BECD-43B4-9E2D-230B8F70F74B}" dt="2024-09-12T19:23:07.267" v="9" actId="47"/>
          <pc:sldLayoutMkLst>
            <pc:docMk/>
            <pc:sldMasterMk cId="1888852035" sldId="2147484022"/>
            <pc:sldLayoutMk cId="3204551968" sldId="214748402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88111153" sldId="214748402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143429857" sldId="214748402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839868995" sldId="2147484026"/>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276316018" sldId="2147484027"/>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323500275" sldId="2147484028"/>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164821911" sldId="2147484029"/>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021850732" sldId="2147484030"/>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783293363" sldId="2147484031"/>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993012408" sldId="2147484032"/>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564670420" sldId="214748403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826935849" sldId="214748403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11536330" sldId="214748403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437456350" sldId="2147484036"/>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918971502" sldId="2147484037"/>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667045618" sldId="2147484038"/>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232749479" sldId="2147484039"/>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518920093" sldId="2147484040"/>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758209712" sldId="2147484041"/>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648980624" sldId="2147484042"/>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442178489" sldId="214748404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660480863" sldId="214748404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78856997" sldId="214748404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156071349" sldId="2147484046"/>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766641592" sldId="2147484047"/>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266329329" sldId="2147484048"/>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243845423" sldId="2147484049"/>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710714375" sldId="2147484050"/>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925968566" sldId="2147484051"/>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486137123" sldId="2147484052"/>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95113069" sldId="214748405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795034438" sldId="214748405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401732261" sldId="214748405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562201272" sldId="2147484056"/>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704751590" sldId="2147484057"/>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083675233" sldId="2147484058"/>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974413272" sldId="2147484059"/>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649694676" sldId="2147484060"/>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01542012" sldId="2147484061"/>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414919175" sldId="2147484062"/>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21709211" sldId="214748406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119305044" sldId="214748406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806035365" sldId="214748406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003137666" sldId="2147484066"/>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893987746" sldId="2147484067"/>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281915910" sldId="2147484068"/>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837723449" sldId="2147484069"/>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2989583756" sldId="2147484070"/>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976550315" sldId="2147484071"/>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458144773" sldId="2147484072"/>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4085120812" sldId="2147484073"/>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1876982812" sldId="2147484074"/>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758735599" sldId="2147484075"/>
          </pc:sldLayoutMkLst>
        </pc:sldLayoutChg>
        <pc:sldLayoutChg chg="del">
          <pc:chgData name="Fardin Salam" userId="89004a45-f843-4675-a13e-f055c58c14f0" providerId="ADAL" clId="{EC86346C-BECD-43B4-9E2D-230B8F70F74B}" dt="2024-09-12T19:23:07.267" v="9" actId="47"/>
          <pc:sldLayoutMkLst>
            <pc:docMk/>
            <pc:sldMasterMk cId="1888852035" sldId="2147484022"/>
            <pc:sldLayoutMk cId="3582712835" sldId="2147484076"/>
          </pc:sldLayoutMkLst>
        </pc:sldLayoutChg>
      </pc:sldMasterChg>
      <pc:sldMasterChg chg="del delSldLayout">
        <pc:chgData name="Fardin Salam" userId="89004a45-f843-4675-a13e-f055c58c14f0" providerId="ADAL" clId="{EC86346C-BECD-43B4-9E2D-230B8F70F74B}" dt="2024-09-12T19:24:30.953" v="15" actId="47"/>
        <pc:sldMasterMkLst>
          <pc:docMk/>
          <pc:sldMasterMk cId="2730512653" sldId="2147484022"/>
        </pc:sldMasterMkLst>
        <pc:sldLayoutChg chg="del">
          <pc:chgData name="Fardin Salam" userId="89004a45-f843-4675-a13e-f055c58c14f0" providerId="ADAL" clId="{EC86346C-BECD-43B4-9E2D-230B8F70F74B}" dt="2024-09-12T19:24:30.953" v="15" actId="47"/>
          <pc:sldLayoutMkLst>
            <pc:docMk/>
            <pc:sldMasterMk cId="2730512653" sldId="2147484022"/>
            <pc:sldLayoutMk cId="3722884250" sldId="214748402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17712224" sldId="214748402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918525921" sldId="214748402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4184600585" sldId="2147484026"/>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931017594" sldId="2147484027"/>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862603849" sldId="2147484028"/>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047675937" sldId="2147484029"/>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297122815" sldId="2147484030"/>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815720849" sldId="2147484031"/>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832520318" sldId="2147484032"/>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694114410" sldId="214748403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173649518" sldId="214748403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4020519098" sldId="214748403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630160411" sldId="2147484036"/>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142737102" sldId="2147484037"/>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416571514" sldId="2147484038"/>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750193316" sldId="2147484039"/>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259461623" sldId="2147484040"/>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597500780" sldId="2147484041"/>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904228370" sldId="2147484042"/>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43129714" sldId="214748404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986050688" sldId="214748404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671522586" sldId="214748404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661924209" sldId="2147484046"/>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517695359" sldId="2147484047"/>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972644626" sldId="2147484048"/>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988178713" sldId="2147484049"/>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4259338666" sldId="2147484050"/>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584915254" sldId="2147484051"/>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224903837" sldId="2147484052"/>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723776279" sldId="214748405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019446520" sldId="214748405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4037595076" sldId="214748405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853229038" sldId="2147484056"/>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533742370" sldId="2147484057"/>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725475446" sldId="2147484058"/>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123229921" sldId="2147484059"/>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551383912" sldId="2147484060"/>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762330179" sldId="2147484061"/>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503784279" sldId="2147484062"/>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485961582" sldId="214748406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828503201" sldId="214748406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086351684" sldId="214748406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48685604" sldId="2147484066"/>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000744705" sldId="2147484067"/>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992941977" sldId="2147484068"/>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2206013472" sldId="2147484069"/>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691846342" sldId="2147484070"/>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743814156" sldId="2147484071"/>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3797102688" sldId="2147484072"/>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927214305" sldId="2147484073"/>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822909510" sldId="2147484074"/>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52618510" sldId="2147484075"/>
          </pc:sldLayoutMkLst>
        </pc:sldLayoutChg>
        <pc:sldLayoutChg chg="del">
          <pc:chgData name="Fardin Salam" userId="89004a45-f843-4675-a13e-f055c58c14f0" providerId="ADAL" clId="{EC86346C-BECD-43B4-9E2D-230B8F70F74B}" dt="2024-09-12T19:24:30.953" v="15" actId="47"/>
          <pc:sldLayoutMkLst>
            <pc:docMk/>
            <pc:sldMasterMk cId="2730512653" sldId="2147484022"/>
            <pc:sldLayoutMk cId="104071100" sldId="2147484076"/>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latin typeface="Neue Haas Grotesk Text Pro" panose="020B0504020202020204" pitchFamily="34" charset="77"/>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latin typeface="Neue Haas Grotesk Text Pro" panose="020B0504020202020204" pitchFamily="34" charset="77"/>
              </a:rPr>
              <a:pPr/>
              <a:t>9/12/2024</a:t>
            </a:fld>
            <a:endParaRPr lang="en-US">
              <a:latin typeface="Neue Haas Grotesk Text Pro" panose="020B0504020202020204" pitchFamily="34" charset="77"/>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latin typeface="Neue Haas Grotesk Text Pro" panose="020B0504020202020204" pitchFamily="34" charset="77"/>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latin typeface="Neue Haas Grotesk Text Pro" panose="020B0504020202020204" pitchFamily="34" charset="77"/>
              </a:rPr>
              <a:pPr/>
              <a:t>‹#›</a:t>
            </a:fld>
            <a:endParaRPr lang="en-US">
              <a:latin typeface="Neue Haas Grotesk Text Pro" panose="020B0504020202020204" pitchFamily="34" charset="77"/>
            </a:endParaRPr>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b="0" i="0" kern="1200">
        <a:solidFill>
          <a:schemeClr val="tx1"/>
        </a:solidFill>
        <a:latin typeface="Neue Haas Grotesk Text Pro" panose="020B0504020202020204" pitchFamily="34" charset="77"/>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b="0" i="0" kern="1200">
        <a:solidFill>
          <a:schemeClr val="tx1"/>
        </a:solidFill>
        <a:latin typeface="Neue Haas Grotesk Text Pro" panose="020B0504020202020204" pitchFamily="34"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jpe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Grey White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426AB7-2B7E-09C4-6F67-71BA005906DA}"/>
              </a:ext>
            </a:extLst>
          </p:cNvPr>
          <p:cNvSpPr/>
          <p:nvPr userDrawn="1"/>
        </p:nvSpPr>
        <p:spPr>
          <a:xfrm>
            <a:off x="-1599" y="0"/>
            <a:ext cx="9145599" cy="51572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 name="TextBox 4">
            <a:extLst>
              <a:ext uri="{FF2B5EF4-FFF2-40B4-BE49-F238E27FC236}">
                <a16:creationId xmlns:a16="http://schemas.microsoft.com/office/drawing/2014/main" id="{A373A742-D580-6E84-DE22-B26C90D35ED7}"/>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9" name="TextBox 8">
            <a:extLst>
              <a:ext uri="{FF2B5EF4-FFF2-40B4-BE49-F238E27FC236}">
                <a16:creationId xmlns:a16="http://schemas.microsoft.com/office/drawing/2014/main" id="{CAE6BCFD-5569-DF89-A836-8298A073C595}"/>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14" name="Rectangle 13">
            <a:extLst>
              <a:ext uri="{FF2B5EF4-FFF2-40B4-BE49-F238E27FC236}">
                <a16:creationId xmlns:a16="http://schemas.microsoft.com/office/drawing/2014/main" id="{733B1E77-EDD4-95C6-6BD5-936D2161C0B8}"/>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Placeholder 1">
            <a:extLst>
              <a:ext uri="{FF2B5EF4-FFF2-40B4-BE49-F238E27FC236}">
                <a16:creationId xmlns:a16="http://schemas.microsoft.com/office/drawing/2014/main" id="{4ADAEB4C-BEBA-0902-AFAE-54D2599FCA18}"/>
              </a:ext>
            </a:extLst>
          </p:cNvPr>
          <p:cNvSpPr>
            <a:spLocks noGrp="1"/>
          </p:cNvSpPr>
          <p:nvPr>
            <p:ph type="title" hasCustomPrompt="1"/>
          </p:nvPr>
        </p:nvSpPr>
        <p:spPr>
          <a:xfrm>
            <a:off x="202687" y="53113"/>
            <a:ext cx="8737013" cy="732441"/>
          </a:xfrm>
          <a:prstGeom prst="rect">
            <a:avLst/>
          </a:prstGeom>
        </p:spPr>
        <p:txBody>
          <a:bodyPr vert="horz" wrap="square" lIns="0" tIns="0" rIns="0" bIns="0" rtlCol="0" anchor="ctr">
            <a:normAutofit/>
          </a:bodyPr>
          <a:lstStyle/>
          <a:p>
            <a:pPr lvl="0"/>
            <a:r>
              <a:rPr lang="en-US"/>
              <a:t>Click to add title</a:t>
            </a:r>
          </a:p>
        </p:txBody>
      </p:sp>
      <p:sp>
        <p:nvSpPr>
          <p:cNvPr id="6" name="TextBox 5">
            <a:extLst>
              <a:ext uri="{FF2B5EF4-FFF2-40B4-BE49-F238E27FC236}">
                <a16:creationId xmlns:a16="http://schemas.microsoft.com/office/drawing/2014/main" id="{AB281916-AE38-9003-176B-43F10889C7E2}"/>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tx2"/>
                </a:solidFill>
                <a:latin typeface="Neue Haas Grotesk Text Pro" panose="020B0504020202020204" pitchFamily="34" charset="77"/>
                <a:ea typeface="+mn-ea"/>
                <a:cs typeface="+mn-cs"/>
              </a:rPr>
              <a:t>© Hitachi Vantara LLC 2024. All Rights Reserved.</a:t>
            </a:r>
          </a:p>
        </p:txBody>
      </p:sp>
      <p:sp>
        <p:nvSpPr>
          <p:cNvPr id="7" name="TextBox 6">
            <a:extLst>
              <a:ext uri="{FF2B5EF4-FFF2-40B4-BE49-F238E27FC236}">
                <a16:creationId xmlns:a16="http://schemas.microsoft.com/office/drawing/2014/main" id="{D84645F7-82DB-DAD5-36A4-3265BBC2400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a:solidFill>
                <a:schemeClr val="tx2"/>
              </a:solidFill>
              <a:latin typeface="Neue Haas Grotesk Text Pro" panose="020B0504020202020204" pitchFamily="34" charset="77"/>
            </a:endParaRPr>
          </a:p>
        </p:txBody>
      </p:sp>
      <p:pic>
        <p:nvPicPr>
          <p:cNvPr id="19" name="Picture 18" descr="A red text on a white background&#10;&#10;Description automatically generated">
            <a:extLst>
              <a:ext uri="{FF2B5EF4-FFF2-40B4-BE49-F238E27FC236}">
                <a16:creationId xmlns:a16="http://schemas.microsoft.com/office/drawing/2014/main" id="{D3454C5D-26DC-05C1-FBBF-13BFCBDC1BA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38601" y="4849407"/>
            <a:ext cx="1517904" cy="242403"/>
          </a:xfrm>
          <a:prstGeom prst="rect">
            <a:avLst/>
          </a:prstGeom>
        </p:spPr>
      </p:pic>
    </p:spTree>
    <p:extLst>
      <p:ext uri="{BB962C8B-B14F-4D97-AF65-F5344CB8AC3E}">
        <p14:creationId xmlns:p14="http://schemas.microsoft.com/office/powerpoint/2010/main" val="35574803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Grey White Footer">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373A742-D580-6E84-DE22-B26C90D35ED7}"/>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9" name="TextBox 8">
            <a:extLst>
              <a:ext uri="{FF2B5EF4-FFF2-40B4-BE49-F238E27FC236}">
                <a16:creationId xmlns:a16="http://schemas.microsoft.com/office/drawing/2014/main" id="{CAE6BCFD-5569-DF89-A836-8298A073C595}"/>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14" name="Rectangle 13">
            <a:extLst>
              <a:ext uri="{FF2B5EF4-FFF2-40B4-BE49-F238E27FC236}">
                <a16:creationId xmlns:a16="http://schemas.microsoft.com/office/drawing/2014/main" id="{733B1E77-EDD4-95C6-6BD5-936D2161C0B8}"/>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Placeholder 1">
            <a:extLst>
              <a:ext uri="{FF2B5EF4-FFF2-40B4-BE49-F238E27FC236}">
                <a16:creationId xmlns:a16="http://schemas.microsoft.com/office/drawing/2014/main" id="{4ADAEB4C-BEBA-0902-AFAE-54D2599FCA18}"/>
              </a:ext>
            </a:extLst>
          </p:cNvPr>
          <p:cNvSpPr>
            <a:spLocks noGrp="1"/>
          </p:cNvSpPr>
          <p:nvPr>
            <p:ph type="title" hasCustomPrompt="1"/>
          </p:nvPr>
        </p:nvSpPr>
        <p:spPr>
          <a:xfrm>
            <a:off x="202687" y="53113"/>
            <a:ext cx="8737013" cy="732441"/>
          </a:xfrm>
          <a:prstGeom prst="rect">
            <a:avLst/>
          </a:prstGeom>
        </p:spPr>
        <p:txBody>
          <a:bodyPr vert="horz" wrap="square" lIns="0" tIns="0" rIns="0" bIns="0" rtlCol="0" anchor="ctr">
            <a:normAutofit/>
          </a:bodyPr>
          <a:lstStyle/>
          <a:p>
            <a:pPr lvl="0"/>
            <a:r>
              <a:rPr lang="en-US"/>
              <a:t>Click to add title</a:t>
            </a:r>
          </a:p>
        </p:txBody>
      </p:sp>
      <p:sp>
        <p:nvSpPr>
          <p:cNvPr id="6" name="TextBox 5">
            <a:extLst>
              <a:ext uri="{FF2B5EF4-FFF2-40B4-BE49-F238E27FC236}">
                <a16:creationId xmlns:a16="http://schemas.microsoft.com/office/drawing/2014/main" id="{AB281916-AE38-9003-176B-43F10889C7E2}"/>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tx2"/>
                </a:solidFill>
                <a:latin typeface="Neue Haas Grotesk Text Pro" panose="020B0504020202020204" pitchFamily="34" charset="77"/>
                <a:ea typeface="+mn-ea"/>
                <a:cs typeface="+mn-cs"/>
              </a:rPr>
              <a:t>© Hitachi Vantara LLC 2024. All Rights Reserved.</a:t>
            </a:r>
          </a:p>
        </p:txBody>
      </p:sp>
      <p:sp>
        <p:nvSpPr>
          <p:cNvPr id="7" name="TextBox 6">
            <a:extLst>
              <a:ext uri="{FF2B5EF4-FFF2-40B4-BE49-F238E27FC236}">
                <a16:creationId xmlns:a16="http://schemas.microsoft.com/office/drawing/2014/main" id="{D84645F7-82DB-DAD5-36A4-3265BBC2400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a:solidFill>
                <a:schemeClr val="tx2"/>
              </a:solidFill>
              <a:latin typeface="Neue Haas Grotesk Text Pro" panose="020B0504020202020204" pitchFamily="34" charset="77"/>
            </a:endParaRPr>
          </a:p>
        </p:txBody>
      </p:sp>
      <p:pic>
        <p:nvPicPr>
          <p:cNvPr id="19" name="Picture 18" descr="A red text on a white background&#10;&#10;Description automatically generated">
            <a:extLst>
              <a:ext uri="{FF2B5EF4-FFF2-40B4-BE49-F238E27FC236}">
                <a16:creationId xmlns:a16="http://schemas.microsoft.com/office/drawing/2014/main" id="{D3454C5D-26DC-05C1-FBBF-13BFCBDC1BA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38601" y="4849407"/>
            <a:ext cx="1517904" cy="242403"/>
          </a:xfrm>
          <a:prstGeom prst="rect">
            <a:avLst/>
          </a:prstGeom>
        </p:spPr>
      </p:pic>
    </p:spTree>
    <p:extLst>
      <p:ext uri="{BB962C8B-B14F-4D97-AF65-F5344CB8AC3E}">
        <p14:creationId xmlns:p14="http://schemas.microsoft.com/office/powerpoint/2010/main" val="18377020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Re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D8D4E5A3-9FF8-174B-B024-4CB426E86E5A}"/>
              </a:ext>
            </a:extLst>
          </p:cNvPr>
          <p:cNvSpPr>
            <a:spLocks/>
          </p:cNvSpPr>
          <p:nvPr userDrawn="1"/>
        </p:nvSpPr>
        <p:spPr>
          <a:xfrm>
            <a:off x="0" y="0"/>
            <a:ext cx="9153144" cy="5157216"/>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pic>
        <p:nvPicPr>
          <p:cNvPr id="5" name="dots pattern">
            <a:extLst>
              <a:ext uri="{FF2B5EF4-FFF2-40B4-BE49-F238E27FC236}">
                <a16:creationId xmlns:a16="http://schemas.microsoft.com/office/drawing/2014/main" id="{EFD8E20D-8B6B-3813-24AD-412BA7CAB079}"/>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r="38627"/>
          <a:stretch/>
        </p:blipFill>
        <p:spPr>
          <a:xfrm>
            <a:off x="5444261" y="-300155"/>
            <a:ext cx="5415967" cy="4963904"/>
          </a:xfrm>
          <a:prstGeom prst="rect">
            <a:avLst/>
          </a:prstGeom>
        </p:spPr>
      </p:pic>
      <p:sp>
        <p:nvSpPr>
          <p:cNvPr id="3" name="TextBox 2">
            <a:extLst>
              <a:ext uri="{FF2B5EF4-FFF2-40B4-BE49-F238E27FC236}">
                <a16:creationId xmlns:a16="http://schemas.microsoft.com/office/drawing/2014/main" id="{678ED88B-543E-5F6F-0853-93A7371BB82E}"/>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a:solidFill>
                <a:schemeClr val="bg1"/>
              </a:solidFill>
              <a:latin typeface="Neue Haas Grotesk Text Pro" panose="020B0504020202020204" pitchFamily="34" charset="77"/>
            </a:endParaRPr>
          </a:p>
        </p:txBody>
      </p:sp>
      <p:sp>
        <p:nvSpPr>
          <p:cNvPr id="7" name="TextBox 6">
            <a:extLst>
              <a:ext uri="{FF2B5EF4-FFF2-40B4-BE49-F238E27FC236}">
                <a16:creationId xmlns:a16="http://schemas.microsoft.com/office/drawing/2014/main" id="{DF36879B-E417-A6C1-2CBD-9E79FACE481F}"/>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bg1"/>
                </a:solidFill>
                <a:latin typeface="Neue Haas Grotesk Text Pro" panose="020B0504020202020204" pitchFamily="34" charset="77"/>
                <a:ea typeface="+mn-ea"/>
                <a:cs typeface="+mn-cs"/>
              </a:rPr>
              <a:t>© Hitachi Vantara LLC 2024. All Rights Reserved.</a:t>
            </a:r>
          </a:p>
        </p:txBody>
      </p:sp>
      <p:pic>
        <p:nvPicPr>
          <p:cNvPr id="10" name="HV logo">
            <a:extLst>
              <a:ext uri="{FF2B5EF4-FFF2-40B4-BE49-F238E27FC236}">
                <a16:creationId xmlns:a16="http://schemas.microsoft.com/office/drawing/2014/main" id="{CC955F9A-2F94-1FC9-64EE-11C77245661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0"/>
            <a:ext cx="1627198" cy="813599"/>
          </a:xfrm>
          <a:prstGeom prst="rect">
            <a:avLst/>
          </a:prstGeom>
        </p:spPr>
      </p:pic>
      <p:sp>
        <p:nvSpPr>
          <p:cNvPr id="2" name="Eyebrow Text">
            <a:extLst>
              <a:ext uri="{FF2B5EF4-FFF2-40B4-BE49-F238E27FC236}">
                <a16:creationId xmlns:a16="http://schemas.microsoft.com/office/drawing/2014/main" id="{BC3FD556-9BCD-2AA3-40E0-CA128E2BFF70}"/>
              </a:ext>
            </a:extLst>
          </p:cNvPr>
          <p:cNvSpPr>
            <a:spLocks noGrp="1"/>
          </p:cNvSpPr>
          <p:nvPr>
            <p:ph type="subTitle" idx="1" hasCustomPrompt="1"/>
          </p:nvPr>
        </p:nvSpPr>
        <p:spPr>
          <a:xfrm>
            <a:off x="637413" y="1048425"/>
            <a:ext cx="3310222"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a:t>
            </a:r>
          </a:p>
        </p:txBody>
      </p:sp>
      <p:sp>
        <p:nvSpPr>
          <p:cNvPr id="4" name="Text Placeholder 6">
            <a:extLst>
              <a:ext uri="{FF2B5EF4-FFF2-40B4-BE49-F238E27FC236}">
                <a16:creationId xmlns:a16="http://schemas.microsoft.com/office/drawing/2014/main" id="{56B36B19-218C-0316-5DE4-91AD032117B9}"/>
              </a:ext>
            </a:extLst>
          </p:cNvPr>
          <p:cNvSpPr>
            <a:spLocks noGrp="1"/>
          </p:cNvSpPr>
          <p:nvPr>
            <p:ph type="body" sz="quarter" idx="11" hasCustomPrompt="1"/>
          </p:nvPr>
        </p:nvSpPr>
        <p:spPr>
          <a:xfrm>
            <a:off x="637413" y="2989221"/>
            <a:ext cx="3544411" cy="246221"/>
          </a:xfrm>
        </p:spPr>
        <p:txBody>
          <a:bodyPr anchor="t"/>
          <a:lstStyle>
            <a:lvl1pPr marL="0" indent="0">
              <a:spcBef>
                <a:spcPts val="0"/>
              </a:spcBef>
              <a:spcAft>
                <a:spcPts val="300"/>
              </a:spcAft>
              <a:buNone/>
              <a:defRPr sz="1600" b="1" baseline="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Name Here</a:t>
            </a:r>
          </a:p>
        </p:txBody>
      </p:sp>
      <p:sp>
        <p:nvSpPr>
          <p:cNvPr id="6" name="Text Placeholder 8">
            <a:extLst>
              <a:ext uri="{FF2B5EF4-FFF2-40B4-BE49-F238E27FC236}">
                <a16:creationId xmlns:a16="http://schemas.microsoft.com/office/drawing/2014/main" id="{698FAF50-A01B-6EE9-9360-DC7C3F539BA8}"/>
              </a:ext>
            </a:extLst>
          </p:cNvPr>
          <p:cNvSpPr>
            <a:spLocks noGrp="1"/>
          </p:cNvSpPr>
          <p:nvPr>
            <p:ph type="body" sz="quarter" idx="12" hasCustomPrompt="1"/>
          </p:nvPr>
        </p:nvSpPr>
        <p:spPr>
          <a:xfrm>
            <a:off x="637413" y="3228414"/>
            <a:ext cx="3544411" cy="369332"/>
          </a:xfrm>
        </p:spPr>
        <p:txBody>
          <a:bodyPr anchor="t"/>
          <a:lstStyle>
            <a:lvl1pPr marL="0" indent="0">
              <a:spcBef>
                <a:spcPts val="0"/>
              </a:spcBef>
              <a:spcAft>
                <a:spcPts val="300"/>
              </a:spcAft>
              <a:buNone/>
              <a:defRPr sz="1200">
                <a:solidFill>
                  <a:schemeClr val="bg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Job Title, Department</a:t>
            </a:r>
            <a:br>
              <a:rPr lang="en-US"/>
            </a:br>
            <a:r>
              <a:rPr lang="en-US"/>
              <a:t>Month 2024</a:t>
            </a:r>
          </a:p>
        </p:txBody>
      </p:sp>
      <p:sp>
        <p:nvSpPr>
          <p:cNvPr id="8" name="Title 1">
            <a:extLst>
              <a:ext uri="{FF2B5EF4-FFF2-40B4-BE49-F238E27FC236}">
                <a16:creationId xmlns:a16="http://schemas.microsoft.com/office/drawing/2014/main" id="{577C23BD-16BE-8EA4-A9B6-D73B44F0A5E0}"/>
              </a:ext>
            </a:extLst>
          </p:cNvPr>
          <p:cNvSpPr>
            <a:spLocks noGrp="1"/>
          </p:cNvSpPr>
          <p:nvPr>
            <p:ph type="ctrTitle" hasCustomPrompt="1"/>
          </p:nvPr>
        </p:nvSpPr>
        <p:spPr>
          <a:xfrm>
            <a:off x="607715" y="1513211"/>
            <a:ext cx="5954926" cy="1319001"/>
          </a:xfrm>
          <a:prstGeom prst="rect">
            <a:avLst/>
          </a:prstGeom>
          <a:effectLst/>
        </p:spPr>
        <p:txBody>
          <a:bodyPr lIns="0" rIns="0" anchor="t" anchorCtr="0">
            <a:normAutofit/>
          </a:bodyPr>
          <a:lstStyle>
            <a:lvl1pPr>
              <a:lnSpc>
                <a:spcPct val="88000"/>
              </a:lnSpc>
              <a:defRPr sz="4800" b="1" i="0" cap="none" spc="-50" baseline="0">
                <a:solidFill>
                  <a:schemeClr val="bg1"/>
                </a:solidFill>
                <a:latin typeface="Neue Haas Grotesk Text Pro" panose="020B0504020202020204" pitchFamily="34" charset="77"/>
              </a:defRPr>
            </a:lvl1pPr>
          </a:lstStyle>
          <a:p>
            <a:r>
              <a:rPr lang="en-US"/>
              <a:t>Presentation Title on 2 Lines Bold 48pt</a:t>
            </a:r>
          </a:p>
        </p:txBody>
      </p:sp>
    </p:spTree>
    <p:extLst>
      <p:ext uri="{BB962C8B-B14F-4D97-AF65-F5344CB8AC3E}">
        <p14:creationId xmlns:p14="http://schemas.microsoft.com/office/powerpoint/2010/main" val="28803549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White Pictu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0B7915-D724-E499-7506-1EFE153DD6FD}"/>
              </a:ext>
            </a:extLst>
          </p:cNvPr>
          <p:cNvSpPr/>
          <p:nvPr userDrawn="1"/>
        </p:nvSpPr>
        <p:spPr>
          <a:xfrm>
            <a:off x="0" y="-2287"/>
            <a:ext cx="9144000" cy="5159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8" name="Graphic 7">
            <a:extLst>
              <a:ext uri="{FF2B5EF4-FFF2-40B4-BE49-F238E27FC236}">
                <a16:creationId xmlns:a16="http://schemas.microsoft.com/office/drawing/2014/main" id="{9CB0DC40-F5F3-7295-81B5-D667EB5EF64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1"/>
            <a:ext cx="1403354" cy="700340"/>
          </a:xfrm>
          <a:prstGeom prst="rect">
            <a:avLst/>
          </a:prstGeom>
        </p:spPr>
      </p:pic>
      <p:sp>
        <p:nvSpPr>
          <p:cNvPr id="10" name="TextBox 9">
            <a:extLst>
              <a:ext uri="{FF2B5EF4-FFF2-40B4-BE49-F238E27FC236}">
                <a16:creationId xmlns:a16="http://schemas.microsoft.com/office/drawing/2014/main" id="{C98388E0-F985-02F6-2CBF-43DC0EECBE90}"/>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tx2"/>
                </a:solidFill>
                <a:latin typeface="Neue Haas Grotesk Text Pro" panose="020B0504020202020204" pitchFamily="34" charset="77"/>
                <a:ea typeface="+mn-ea"/>
                <a:cs typeface="+mn-cs"/>
              </a:rPr>
              <a:t>© Hitachi Vantara LLC 2024. All Rights Reserved.</a:t>
            </a:r>
          </a:p>
        </p:txBody>
      </p:sp>
      <p:pic>
        <p:nvPicPr>
          <p:cNvPr id="4" name="dots pattern">
            <a:extLst>
              <a:ext uri="{FF2B5EF4-FFF2-40B4-BE49-F238E27FC236}">
                <a16:creationId xmlns:a16="http://schemas.microsoft.com/office/drawing/2014/main" id="{D36EC7F4-D2D4-E31D-F825-A62091D00B23}"/>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6047" r="58075"/>
          <a:stretch/>
        </p:blipFill>
        <p:spPr>
          <a:xfrm>
            <a:off x="5444261" y="0"/>
            <a:ext cx="3699739" cy="4663749"/>
          </a:xfrm>
          <a:prstGeom prst="rect">
            <a:avLst/>
          </a:prstGeom>
        </p:spPr>
      </p:pic>
      <p:sp>
        <p:nvSpPr>
          <p:cNvPr id="24" name="Picture Placeholder 29">
            <a:extLst>
              <a:ext uri="{FF2B5EF4-FFF2-40B4-BE49-F238E27FC236}">
                <a16:creationId xmlns:a16="http://schemas.microsoft.com/office/drawing/2014/main" id="{AA6FECF6-FBC1-450E-F31F-997D1652A96B}"/>
              </a:ext>
            </a:extLst>
          </p:cNvPr>
          <p:cNvSpPr>
            <a:spLocks noGrp="1"/>
          </p:cNvSpPr>
          <p:nvPr>
            <p:ph type="pic" sz="quarter" idx="13"/>
          </p:nvPr>
        </p:nvSpPr>
        <p:spPr>
          <a:xfrm>
            <a:off x="5801198" y="489276"/>
            <a:ext cx="4224631" cy="4224631"/>
          </a:xfrm>
          <a:prstGeom prst="ellipse">
            <a:avLst/>
          </a:prstGeom>
          <a:solidFill>
            <a:schemeClr val="bg2"/>
          </a:solidFill>
        </p:spPr>
        <p:txBody>
          <a:bodyPr anchor="ctr" anchorCtr="0"/>
          <a:lstStyle/>
          <a:p>
            <a:r>
              <a:rPr lang="en-US"/>
              <a:t>Click icon to add picture</a:t>
            </a:r>
          </a:p>
        </p:txBody>
      </p:sp>
      <p:sp>
        <p:nvSpPr>
          <p:cNvPr id="12" name="TextBox 11">
            <a:extLst>
              <a:ext uri="{FF2B5EF4-FFF2-40B4-BE49-F238E27FC236}">
                <a16:creationId xmlns:a16="http://schemas.microsoft.com/office/drawing/2014/main" id="{E299AD3C-03AE-FFF1-4364-A476C5A07A33}"/>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a:solidFill>
                <a:schemeClr val="tx2"/>
              </a:solidFill>
              <a:latin typeface="Neue Haas Grotesk Text Pro" panose="020B0504020202020204" pitchFamily="34" charset="77"/>
            </a:endParaRPr>
          </a:p>
        </p:txBody>
      </p:sp>
      <p:sp>
        <p:nvSpPr>
          <p:cNvPr id="7" name="Subtitle 2">
            <a:extLst>
              <a:ext uri="{FF2B5EF4-FFF2-40B4-BE49-F238E27FC236}">
                <a16:creationId xmlns:a16="http://schemas.microsoft.com/office/drawing/2014/main" id="{3596B3DD-883B-F6A4-592E-A183E64A41B7}"/>
              </a:ext>
            </a:extLst>
          </p:cNvPr>
          <p:cNvSpPr>
            <a:spLocks noGrp="1"/>
          </p:cNvSpPr>
          <p:nvPr>
            <p:ph type="subTitle" idx="1" hasCustomPrompt="1"/>
          </p:nvPr>
        </p:nvSpPr>
        <p:spPr>
          <a:xfrm>
            <a:off x="681348" y="2803117"/>
            <a:ext cx="4286425" cy="307777"/>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2000" b="0" i="1" cap="none" baseline="0">
                <a:solidFill>
                  <a:schemeClr val="tx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placeholder 20pt Regular</a:t>
            </a:r>
          </a:p>
        </p:txBody>
      </p:sp>
      <p:sp>
        <p:nvSpPr>
          <p:cNvPr id="9" name="Title 1">
            <a:extLst>
              <a:ext uri="{FF2B5EF4-FFF2-40B4-BE49-F238E27FC236}">
                <a16:creationId xmlns:a16="http://schemas.microsoft.com/office/drawing/2014/main" id="{29FDB1CC-CDD1-45E2-2D41-A9BED3DF2586}"/>
              </a:ext>
            </a:extLst>
          </p:cNvPr>
          <p:cNvSpPr>
            <a:spLocks noGrp="1"/>
          </p:cNvSpPr>
          <p:nvPr>
            <p:ph type="ctrTitle" hasCustomPrompt="1"/>
          </p:nvPr>
        </p:nvSpPr>
        <p:spPr>
          <a:xfrm>
            <a:off x="681348" y="973627"/>
            <a:ext cx="4412631" cy="1823439"/>
          </a:xfrm>
          <a:prstGeom prst="rect">
            <a:avLst/>
          </a:prstGeom>
          <a:effectLst/>
        </p:spPr>
        <p:txBody>
          <a:bodyPr lIns="0" rIns="0" anchor="b" anchorCtr="0">
            <a:noAutofit/>
          </a:bodyPr>
          <a:lstStyle>
            <a:lvl1pPr>
              <a:lnSpc>
                <a:spcPct val="90000"/>
              </a:lnSpc>
              <a:defRPr sz="4000" b="1" i="0" cap="none" baseline="0">
                <a:solidFill>
                  <a:schemeClr val="tx1"/>
                </a:solidFill>
                <a:latin typeface="Neue Haas Grotesk Text Pro" panose="020B0504020202020204" pitchFamily="34" charset="77"/>
              </a:defRPr>
            </a:lvl1pPr>
          </a:lstStyle>
          <a:p>
            <a:r>
              <a:rPr lang="en-US"/>
              <a:t>Presentation Title or Divider Slide</a:t>
            </a:r>
          </a:p>
        </p:txBody>
      </p:sp>
      <p:sp>
        <p:nvSpPr>
          <p:cNvPr id="15" name="Text Placeholder 6">
            <a:extLst>
              <a:ext uri="{FF2B5EF4-FFF2-40B4-BE49-F238E27FC236}">
                <a16:creationId xmlns:a16="http://schemas.microsoft.com/office/drawing/2014/main" id="{9A190A3A-4699-E88F-531F-FDB457488B9F}"/>
              </a:ext>
            </a:extLst>
          </p:cNvPr>
          <p:cNvSpPr>
            <a:spLocks noGrp="1"/>
          </p:cNvSpPr>
          <p:nvPr>
            <p:ph type="body" sz="quarter" idx="11" hasCustomPrompt="1"/>
          </p:nvPr>
        </p:nvSpPr>
        <p:spPr>
          <a:xfrm>
            <a:off x="681348" y="3905309"/>
            <a:ext cx="3544411" cy="215444"/>
          </a:xfrm>
        </p:spPr>
        <p:txBody>
          <a:bodyPr anchor="t"/>
          <a:lstStyle>
            <a:lvl1pPr marL="0" indent="0">
              <a:spcBef>
                <a:spcPts val="0"/>
              </a:spcBef>
              <a:spcAft>
                <a:spcPts val="300"/>
              </a:spcAft>
              <a:buNone/>
              <a:defRPr sz="1400" b="1" baseline="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Subtitle here 14pt Bold</a:t>
            </a:r>
          </a:p>
        </p:txBody>
      </p:sp>
      <p:sp>
        <p:nvSpPr>
          <p:cNvPr id="17" name="Text Placeholder 8">
            <a:extLst>
              <a:ext uri="{FF2B5EF4-FFF2-40B4-BE49-F238E27FC236}">
                <a16:creationId xmlns:a16="http://schemas.microsoft.com/office/drawing/2014/main" id="{0522A203-8423-7D21-DA99-65D3EEB9EDA9}"/>
              </a:ext>
            </a:extLst>
          </p:cNvPr>
          <p:cNvSpPr>
            <a:spLocks noGrp="1"/>
          </p:cNvSpPr>
          <p:nvPr>
            <p:ph type="body" sz="quarter" idx="12" hasCustomPrompt="1"/>
          </p:nvPr>
        </p:nvSpPr>
        <p:spPr>
          <a:xfrm>
            <a:off x="681348" y="4134651"/>
            <a:ext cx="3544411" cy="184666"/>
          </a:xfrm>
        </p:spPr>
        <p:txBody>
          <a:bodyPr anchor="t"/>
          <a:lstStyle>
            <a:lvl1pPr marL="0" indent="0">
              <a:spcBef>
                <a:spcPts val="0"/>
              </a:spcBef>
              <a:spcAft>
                <a:spcPts val="300"/>
              </a:spcAft>
              <a:buNone/>
              <a:defRPr sz="1200">
                <a:solidFill>
                  <a:schemeClr val="tx1"/>
                </a:solidFill>
              </a:defRPr>
            </a:lvl1pPr>
            <a:lvl2pPr marL="280987" indent="0">
              <a:buNone/>
              <a:defRPr/>
            </a:lvl2pPr>
            <a:lvl3pPr marL="574675" indent="0">
              <a:buNone/>
              <a:defRPr/>
            </a:lvl3pPr>
            <a:lvl4pPr marL="855663" indent="0">
              <a:buNone/>
              <a:defRPr/>
            </a:lvl4pPr>
            <a:lvl5pPr marL="1090613" indent="0">
              <a:buNone/>
              <a:defRPr/>
            </a:lvl5pPr>
          </a:lstStyle>
          <a:p>
            <a:pPr lvl="0"/>
            <a:r>
              <a:rPr lang="en-US"/>
              <a:t>Optional text here 12pt Regular</a:t>
            </a:r>
          </a:p>
        </p:txBody>
      </p:sp>
      <p:pic>
        <p:nvPicPr>
          <p:cNvPr id="11" name="Picture 10" descr="A red text on a white background&#10;&#10;Description automatically generated">
            <a:extLst>
              <a:ext uri="{FF2B5EF4-FFF2-40B4-BE49-F238E27FC236}">
                <a16:creationId xmlns:a16="http://schemas.microsoft.com/office/drawing/2014/main" id="{7A8D7C24-7533-3641-95C4-86F7F27B2231}"/>
              </a:ext>
            </a:extLst>
          </p:cNvPr>
          <p:cNvPicPr>
            <a:picLocks noChangeAspect="1"/>
          </p:cNvPicPr>
          <p:nvPr userDrawn="1"/>
        </p:nvPicPr>
        <p:blipFill rotWithShape="1">
          <a:blip r:embed="rId6" cstate="screen">
            <a:alphaModFix/>
            <a:extLst>
              <a:ext uri="{28A0092B-C50C-407E-A947-70E740481C1C}">
                <a14:useLocalDpi xmlns:a14="http://schemas.microsoft.com/office/drawing/2010/main"/>
              </a:ext>
            </a:extLst>
          </a:blip>
          <a:srcRect/>
          <a:stretch/>
        </p:blipFill>
        <p:spPr>
          <a:xfrm>
            <a:off x="81734" y="158721"/>
            <a:ext cx="2002536" cy="319796"/>
          </a:xfrm>
          <a:prstGeom prst="rect">
            <a:avLst/>
          </a:prstGeom>
        </p:spPr>
      </p:pic>
    </p:spTree>
    <p:extLst>
      <p:ext uri="{BB962C8B-B14F-4D97-AF65-F5344CB8AC3E}">
        <p14:creationId xmlns:p14="http://schemas.microsoft.com/office/powerpoint/2010/main" val="328665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Grey White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426AB7-2B7E-09C4-6F67-71BA005906DA}"/>
              </a:ext>
            </a:extLst>
          </p:cNvPr>
          <p:cNvSpPr/>
          <p:nvPr userDrawn="1"/>
        </p:nvSpPr>
        <p:spPr>
          <a:xfrm>
            <a:off x="-1599" y="0"/>
            <a:ext cx="9145599" cy="51572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eue Haas Grotesk Text Pro" panose="020B0504020202020204" pitchFamily="34" charset="77"/>
            </a:endParaRPr>
          </a:p>
        </p:txBody>
      </p:sp>
      <p:sp>
        <p:nvSpPr>
          <p:cNvPr id="5" name="TextBox 4">
            <a:extLst>
              <a:ext uri="{FF2B5EF4-FFF2-40B4-BE49-F238E27FC236}">
                <a16:creationId xmlns:a16="http://schemas.microsoft.com/office/drawing/2014/main" id="{A373A742-D580-6E84-DE22-B26C90D35ED7}"/>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9" name="TextBox 8">
            <a:extLst>
              <a:ext uri="{FF2B5EF4-FFF2-40B4-BE49-F238E27FC236}">
                <a16:creationId xmlns:a16="http://schemas.microsoft.com/office/drawing/2014/main" id="{CAE6BCFD-5569-DF89-A836-8298A073C595}"/>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14" name="Rectangle 13">
            <a:extLst>
              <a:ext uri="{FF2B5EF4-FFF2-40B4-BE49-F238E27FC236}">
                <a16:creationId xmlns:a16="http://schemas.microsoft.com/office/drawing/2014/main" id="{733B1E77-EDD4-95C6-6BD5-936D2161C0B8}"/>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Placeholder 1">
            <a:extLst>
              <a:ext uri="{FF2B5EF4-FFF2-40B4-BE49-F238E27FC236}">
                <a16:creationId xmlns:a16="http://schemas.microsoft.com/office/drawing/2014/main" id="{4ADAEB4C-BEBA-0902-AFAE-54D2599FCA18}"/>
              </a:ext>
            </a:extLst>
          </p:cNvPr>
          <p:cNvSpPr>
            <a:spLocks noGrp="1"/>
          </p:cNvSpPr>
          <p:nvPr>
            <p:ph type="title" hasCustomPrompt="1"/>
          </p:nvPr>
        </p:nvSpPr>
        <p:spPr>
          <a:xfrm>
            <a:off x="202687" y="53113"/>
            <a:ext cx="8737013" cy="732441"/>
          </a:xfrm>
          <a:prstGeom prst="rect">
            <a:avLst/>
          </a:prstGeom>
        </p:spPr>
        <p:txBody>
          <a:bodyPr vert="horz" wrap="square" lIns="0" tIns="0" rIns="0" bIns="0" rtlCol="0" anchor="ctr">
            <a:normAutofit/>
          </a:bodyPr>
          <a:lstStyle/>
          <a:p>
            <a:pPr lvl="0"/>
            <a:r>
              <a:rPr lang="en-US"/>
              <a:t>Click to add title</a:t>
            </a:r>
          </a:p>
        </p:txBody>
      </p:sp>
      <p:sp>
        <p:nvSpPr>
          <p:cNvPr id="6" name="TextBox 5">
            <a:extLst>
              <a:ext uri="{FF2B5EF4-FFF2-40B4-BE49-F238E27FC236}">
                <a16:creationId xmlns:a16="http://schemas.microsoft.com/office/drawing/2014/main" id="{AB281916-AE38-9003-176B-43F10889C7E2}"/>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tx2"/>
                </a:solidFill>
                <a:latin typeface="Neue Haas Grotesk Text Pro" panose="020B0504020202020204" pitchFamily="34" charset="77"/>
                <a:ea typeface="+mn-ea"/>
                <a:cs typeface="+mn-cs"/>
              </a:rPr>
              <a:t>© Hitachi Vantara LLC 2024. All Rights Reserved.</a:t>
            </a:r>
          </a:p>
        </p:txBody>
      </p:sp>
      <p:sp>
        <p:nvSpPr>
          <p:cNvPr id="7" name="TextBox 6">
            <a:extLst>
              <a:ext uri="{FF2B5EF4-FFF2-40B4-BE49-F238E27FC236}">
                <a16:creationId xmlns:a16="http://schemas.microsoft.com/office/drawing/2014/main" id="{D84645F7-82DB-DAD5-36A4-3265BBC2400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a:solidFill>
                <a:schemeClr val="tx2"/>
              </a:solidFill>
              <a:latin typeface="Neue Haas Grotesk Text Pro" panose="020B0504020202020204" pitchFamily="34" charset="77"/>
            </a:endParaRPr>
          </a:p>
        </p:txBody>
      </p:sp>
      <p:pic>
        <p:nvPicPr>
          <p:cNvPr id="19" name="Picture 18" descr="A red text on a white background&#10;&#10;Description automatically generated">
            <a:extLst>
              <a:ext uri="{FF2B5EF4-FFF2-40B4-BE49-F238E27FC236}">
                <a16:creationId xmlns:a16="http://schemas.microsoft.com/office/drawing/2014/main" id="{D3454C5D-26DC-05C1-FBBF-13BFCBDC1BA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38601" y="4849407"/>
            <a:ext cx="1517904" cy="242403"/>
          </a:xfrm>
          <a:prstGeom prst="rect">
            <a:avLst/>
          </a:prstGeom>
        </p:spPr>
      </p:pic>
    </p:spTree>
    <p:extLst>
      <p:ext uri="{BB962C8B-B14F-4D97-AF65-F5344CB8AC3E}">
        <p14:creationId xmlns:p14="http://schemas.microsoft.com/office/powerpoint/2010/main" val="407221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Grey White Footer">
    <p:bg>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373A742-D580-6E84-DE22-B26C90D35ED7}"/>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9" name="TextBox 8">
            <a:extLst>
              <a:ext uri="{FF2B5EF4-FFF2-40B4-BE49-F238E27FC236}">
                <a16:creationId xmlns:a16="http://schemas.microsoft.com/office/drawing/2014/main" id="{CAE6BCFD-5569-DF89-A836-8298A073C595}"/>
              </a:ext>
            </a:extLst>
          </p:cNvPr>
          <p:cNvSpPr txBox="1"/>
          <p:nvPr userDrawn="1"/>
        </p:nvSpPr>
        <p:spPr>
          <a:xfrm>
            <a:off x="1611" y="4915450"/>
            <a:ext cx="316112" cy="215444"/>
          </a:xfrm>
          <a:prstGeom prst="rect">
            <a:avLst/>
          </a:prstGeom>
          <a:noFill/>
        </p:spPr>
        <p:txBody>
          <a:bodyPr wrap="none" rtlCol="0">
            <a:spAutoFit/>
          </a:bodyPr>
          <a:lstStyle/>
          <a:p>
            <a:fld id="{111F478C-84AE-4601-9BE4-60468A3A6C06}" type="slidenum">
              <a:rPr lang="en-US" sz="800" b="0" i="0" smtClean="0">
                <a:solidFill>
                  <a:prstClr val="white">
                    <a:alpha val="50000"/>
                  </a:prstClr>
                </a:solidFill>
                <a:latin typeface="Neue Haas Grotesk Text Pro" panose="020B0504020202020204" pitchFamily="34" charset="77"/>
              </a:rPr>
              <a:pPr/>
              <a:t>‹#›</a:t>
            </a:fld>
            <a:endParaRPr lang="en-US" sz="800" b="0" i="0">
              <a:solidFill>
                <a:prstClr val="white">
                  <a:alpha val="50000"/>
                </a:prstClr>
              </a:solidFill>
              <a:latin typeface="Neue Haas Grotesk Text Pro" panose="020B0504020202020204" pitchFamily="34" charset="77"/>
            </a:endParaRPr>
          </a:p>
        </p:txBody>
      </p:sp>
      <p:sp>
        <p:nvSpPr>
          <p:cNvPr id="14" name="Rectangle 13">
            <a:extLst>
              <a:ext uri="{FF2B5EF4-FFF2-40B4-BE49-F238E27FC236}">
                <a16:creationId xmlns:a16="http://schemas.microsoft.com/office/drawing/2014/main" id="{733B1E77-EDD4-95C6-6BD5-936D2161C0B8}"/>
              </a:ext>
            </a:extLst>
          </p:cNvPr>
          <p:cNvSpPr/>
          <p:nvPr userDrawn="1"/>
        </p:nvSpPr>
        <p:spPr>
          <a:xfrm rot="10800000">
            <a:off x="-2" y="4810204"/>
            <a:ext cx="9145599" cy="33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itle Placeholder 1">
            <a:extLst>
              <a:ext uri="{FF2B5EF4-FFF2-40B4-BE49-F238E27FC236}">
                <a16:creationId xmlns:a16="http://schemas.microsoft.com/office/drawing/2014/main" id="{4ADAEB4C-BEBA-0902-AFAE-54D2599FCA18}"/>
              </a:ext>
            </a:extLst>
          </p:cNvPr>
          <p:cNvSpPr>
            <a:spLocks noGrp="1"/>
          </p:cNvSpPr>
          <p:nvPr>
            <p:ph type="title" hasCustomPrompt="1"/>
          </p:nvPr>
        </p:nvSpPr>
        <p:spPr>
          <a:xfrm>
            <a:off x="202687" y="53113"/>
            <a:ext cx="8737013" cy="732441"/>
          </a:xfrm>
          <a:prstGeom prst="rect">
            <a:avLst/>
          </a:prstGeom>
        </p:spPr>
        <p:txBody>
          <a:bodyPr vert="horz" wrap="square" lIns="0" tIns="0" rIns="0" bIns="0" rtlCol="0" anchor="ctr">
            <a:normAutofit/>
          </a:bodyPr>
          <a:lstStyle/>
          <a:p>
            <a:pPr lvl="0"/>
            <a:r>
              <a:rPr lang="en-US"/>
              <a:t>Click to add title</a:t>
            </a:r>
          </a:p>
        </p:txBody>
      </p:sp>
      <p:sp>
        <p:nvSpPr>
          <p:cNvPr id="6" name="TextBox 5">
            <a:extLst>
              <a:ext uri="{FF2B5EF4-FFF2-40B4-BE49-F238E27FC236}">
                <a16:creationId xmlns:a16="http://schemas.microsoft.com/office/drawing/2014/main" id="{AB281916-AE38-9003-176B-43F10889C7E2}"/>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tx2"/>
                </a:solidFill>
                <a:latin typeface="Neue Haas Grotesk Text Pro" panose="020B0504020202020204" pitchFamily="34" charset="77"/>
                <a:ea typeface="+mn-ea"/>
                <a:cs typeface="+mn-cs"/>
              </a:rPr>
              <a:t>© Hitachi Vantara LLC 2024. All Rights Reserved.</a:t>
            </a:r>
          </a:p>
        </p:txBody>
      </p:sp>
      <p:sp>
        <p:nvSpPr>
          <p:cNvPr id="7" name="TextBox 6">
            <a:extLst>
              <a:ext uri="{FF2B5EF4-FFF2-40B4-BE49-F238E27FC236}">
                <a16:creationId xmlns:a16="http://schemas.microsoft.com/office/drawing/2014/main" id="{D84645F7-82DB-DAD5-36A4-3265BBC24004}"/>
              </a:ext>
            </a:extLst>
          </p:cNvPr>
          <p:cNvSpPr txBox="1"/>
          <p:nvPr userDrawn="1"/>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tx2"/>
                </a:solidFill>
                <a:latin typeface="Neue Haas Grotesk Text Pro" panose="020B0504020202020204" pitchFamily="34" charset="77"/>
              </a:rPr>
              <a:pPr algn="l"/>
              <a:t>‹#›</a:t>
            </a:fld>
            <a:endParaRPr lang="en-US" sz="600" b="1" i="0">
              <a:solidFill>
                <a:schemeClr val="tx2"/>
              </a:solidFill>
              <a:latin typeface="Neue Haas Grotesk Text Pro" panose="020B0504020202020204" pitchFamily="34" charset="77"/>
            </a:endParaRPr>
          </a:p>
        </p:txBody>
      </p:sp>
      <p:pic>
        <p:nvPicPr>
          <p:cNvPr id="19" name="Picture 18" descr="A red text on a white background&#10;&#10;Description automatically generated">
            <a:extLst>
              <a:ext uri="{FF2B5EF4-FFF2-40B4-BE49-F238E27FC236}">
                <a16:creationId xmlns:a16="http://schemas.microsoft.com/office/drawing/2014/main" id="{D3454C5D-26DC-05C1-FBBF-13BFCBDC1BAE}"/>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38601" y="4849407"/>
            <a:ext cx="1517904" cy="242403"/>
          </a:xfrm>
          <a:prstGeom prst="rect">
            <a:avLst/>
          </a:prstGeom>
        </p:spPr>
      </p:pic>
    </p:spTree>
    <p:extLst>
      <p:ext uri="{BB962C8B-B14F-4D97-AF65-F5344CB8AC3E}">
        <p14:creationId xmlns:p14="http://schemas.microsoft.com/office/powerpoint/2010/main" val="189296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517E8C-D474-3602-B9EA-C137F66EF53E}"/>
              </a:ext>
            </a:extLst>
          </p:cNvPr>
          <p:cNvGraphicFramePr>
            <a:graphicFrameLocks noChangeAspect="1"/>
          </p:cNvGraphicFramePr>
          <p:nvPr userDrawn="1">
            <p:custDataLst>
              <p:tags r:id="rId5"/>
            </p:custDataLst>
            <p:extLst>
              <p:ext uri="{D42A27DB-BD31-4B8C-83A1-F6EECF244321}">
                <p14:modId xmlns:p14="http://schemas.microsoft.com/office/powerpoint/2010/main" val="59975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0F517E8C-D474-3602-B9EA-C137F66EF5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7F02CF53-A4E5-B646-AE68-6C902E2837E6}"/>
              </a:ext>
            </a:extLst>
          </p:cNvPr>
          <p:cNvSpPr/>
          <p:nvPr userDrawn="1"/>
        </p:nvSpPr>
        <p:spPr>
          <a:xfrm>
            <a:off x="-2" y="4817761"/>
            <a:ext cx="9145599" cy="325739"/>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p:cNvSpPr txBox="1"/>
          <p:nvPr/>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a:solidFill>
                <a:schemeClr val="bg1"/>
              </a:solidFill>
              <a:latin typeface="Neue Haas Grotesk Text Pro" panose="020B0504020202020204" pitchFamily="34" charset="77"/>
            </a:endParaRPr>
          </a:p>
        </p:txBody>
      </p:sp>
      <p:sp>
        <p:nvSpPr>
          <p:cNvPr id="13" name="Text Placeholder 53"/>
          <p:cNvSpPr>
            <a:spLocks noGrp="1"/>
          </p:cNvSpPr>
          <p:nvPr>
            <p:ph type="body" idx="1"/>
          </p:nvPr>
        </p:nvSpPr>
        <p:spPr>
          <a:xfrm>
            <a:off x="264160" y="893234"/>
            <a:ext cx="7757971" cy="100694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p>
        </p:txBody>
      </p:sp>
      <p:sp>
        <p:nvSpPr>
          <p:cNvPr id="16" name="Title Placeholder 1"/>
          <p:cNvSpPr>
            <a:spLocks noGrp="1"/>
          </p:cNvSpPr>
          <p:nvPr>
            <p:ph type="title"/>
          </p:nvPr>
        </p:nvSpPr>
        <p:spPr>
          <a:xfrm>
            <a:off x="264160" y="53113"/>
            <a:ext cx="7051040" cy="732441"/>
          </a:xfrm>
          <a:prstGeom prst="rect">
            <a:avLst/>
          </a:prstGeom>
        </p:spPr>
        <p:txBody>
          <a:bodyPr vert="horz" lIns="72000" tIns="0" rIns="91440" bIns="0" rtlCol="0" anchor="ctr">
            <a:normAutofit/>
          </a:bodyPr>
          <a:lstStyle/>
          <a:p>
            <a:pPr lvl="0"/>
            <a:r>
              <a:rPr lang="en-US"/>
              <a:t>Click to edit Master title style</a:t>
            </a:r>
          </a:p>
        </p:txBody>
      </p:sp>
      <p:sp>
        <p:nvSpPr>
          <p:cNvPr id="32" name="TextBox 31">
            <a:extLst>
              <a:ext uri="{FF2B5EF4-FFF2-40B4-BE49-F238E27FC236}">
                <a16:creationId xmlns:a16="http://schemas.microsoft.com/office/drawing/2014/main" id="{B4AEEDCA-9AEA-934A-9941-5F6114A67B61}"/>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bg1"/>
                </a:solidFill>
                <a:latin typeface="Neue Haas Grotesk Text Pro" panose="020B0504020202020204" pitchFamily="34" charset="77"/>
                <a:ea typeface="+mn-ea"/>
                <a:cs typeface="+mn-cs"/>
              </a:rPr>
              <a:t>© Hitachi Vantara LLC 2024. All Rights Reserved.</a:t>
            </a:r>
          </a:p>
        </p:txBody>
      </p:sp>
      <p:pic>
        <p:nvPicPr>
          <p:cNvPr id="8" name="Picture 7">
            <a:extLst>
              <a:ext uri="{FF2B5EF4-FFF2-40B4-BE49-F238E27FC236}">
                <a16:creationId xmlns:a16="http://schemas.microsoft.com/office/drawing/2014/main" id="{A5B4A74E-E22D-F4CA-940B-EA2F19C1A1E4}"/>
              </a:ext>
            </a:extLst>
          </p:cNvPr>
          <p:cNvPicPr>
            <a:picLocks noChangeAspect="1"/>
          </p:cNvPicPr>
          <p:nvPr userDrawn="1"/>
        </p:nvPicPr>
        <p:blipFill>
          <a:blip r:embed="rId8"/>
          <a:stretch>
            <a:fillRect/>
          </a:stretch>
        </p:blipFill>
        <p:spPr>
          <a:xfrm>
            <a:off x="184150" y="4852883"/>
            <a:ext cx="1435101" cy="251667"/>
          </a:xfrm>
          <a:prstGeom prst="rect">
            <a:avLst/>
          </a:prstGeom>
        </p:spPr>
      </p:pic>
    </p:spTree>
    <p:extLst>
      <p:ext uri="{BB962C8B-B14F-4D97-AF65-F5344CB8AC3E}">
        <p14:creationId xmlns:p14="http://schemas.microsoft.com/office/powerpoint/2010/main" val="3444810710"/>
      </p:ext>
    </p:extLst>
  </p:cSld>
  <p:clrMap bg1="lt1" tx1="dk1" bg2="lt2" tx2="dk2" accent1="accent1" accent2="accent2" accent3="accent3" accent4="accent4" accent5="accent5" accent6="accent6" hlink="hlink" folHlink="folHlink"/>
  <p:sldLayoutIdLst>
    <p:sldLayoutId id="2147483979" r:id="rId1"/>
    <p:sldLayoutId id="2147483980" r:id="rId2"/>
    <p:sldLayoutId id="2147484021" r:id="rId3"/>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914400" rtl="0" eaLnBrk="1" latinLnBrk="0" hangingPunct="1">
        <a:lnSpc>
          <a:spcPct val="85000"/>
        </a:lnSpc>
        <a:spcBef>
          <a:spcPct val="0"/>
        </a:spcBef>
        <a:buNone/>
        <a:defRPr lang="en-US" sz="2200" b="1" i="0" kern="1200" cap="none" dirty="0" smtClean="0">
          <a:solidFill>
            <a:schemeClr val="tx2"/>
          </a:solidFill>
          <a:latin typeface="Neue Haas Grotesk Text Pro" panose="020B0504020202020204" pitchFamily="34" charset="77"/>
          <a:ea typeface="+mj-ea"/>
          <a:cs typeface="+mj-cs"/>
        </a:defRPr>
      </a:lvl1pPr>
    </p:titleStyle>
    <p:bodyStyle>
      <a:lvl1pPr marL="252000" indent="-108000" algn="l" defTabSz="914400" rtl="0" eaLnBrk="1" latinLnBrk="0" hangingPunct="1">
        <a:lnSpc>
          <a:spcPct val="100000"/>
        </a:lnSpc>
        <a:spcBef>
          <a:spcPts val="0"/>
        </a:spcBef>
        <a:spcAft>
          <a:spcPts val="200"/>
        </a:spcAft>
        <a:buClr>
          <a:schemeClr val="tx2"/>
        </a:buClr>
        <a:buFont typeface="Arial" panose="020B0604020202020204" pitchFamily="34" charset="0"/>
        <a:buChar char="•"/>
        <a:defRPr lang="en-US" sz="1600" b="0" i="0" kern="1200" dirty="0" smtClean="0">
          <a:solidFill>
            <a:schemeClr val="tx2"/>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tx2"/>
        </a:buClr>
        <a:buFont typeface="Arial" panose="020B0604020202020204" pitchFamily="34" charset="0"/>
        <a:buChar char="•"/>
        <a:defRPr lang="en-US" sz="1300" b="0" i="0" kern="1200" dirty="0" smtClean="0">
          <a:solidFill>
            <a:schemeClr val="tx2"/>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900" b="0" i="0" kern="1200" dirty="0" smtClean="0">
          <a:solidFill>
            <a:schemeClr val="tx2"/>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smtClean="0">
          <a:solidFill>
            <a:schemeClr val="tx2"/>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a:solidFill>
            <a:schemeClr val="tx2"/>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517E8C-D474-3602-B9EA-C137F66EF53E}"/>
              </a:ext>
            </a:extLst>
          </p:cNvPr>
          <p:cNvGraphicFramePr>
            <a:graphicFrameLocks noChangeAspect="1"/>
          </p:cNvGraphicFramePr>
          <p:nvPr userDrawn="1">
            <p:custDataLst>
              <p:tags r:id="rId5"/>
            </p:custDataLst>
            <p:extLst>
              <p:ext uri="{D42A27DB-BD31-4B8C-83A1-F6EECF244321}">
                <p14:modId xmlns:p14="http://schemas.microsoft.com/office/powerpoint/2010/main" val="59975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3" name="think-cell data - do not delete" hidden="1">
                        <a:extLst>
                          <a:ext uri="{FF2B5EF4-FFF2-40B4-BE49-F238E27FC236}">
                            <a16:creationId xmlns:a16="http://schemas.microsoft.com/office/drawing/2014/main" id="{0F517E8C-D474-3602-B9EA-C137F66EF5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7F02CF53-A4E5-B646-AE68-6C902E2837E6}"/>
              </a:ext>
            </a:extLst>
          </p:cNvPr>
          <p:cNvSpPr/>
          <p:nvPr userDrawn="1"/>
        </p:nvSpPr>
        <p:spPr>
          <a:xfrm>
            <a:off x="-2" y="4817761"/>
            <a:ext cx="9145599" cy="325739"/>
          </a:xfrm>
          <a:prstGeom prst="rect">
            <a:avLst/>
          </a:prstGeom>
          <a:gradFill>
            <a:gsLst>
              <a:gs pos="0">
                <a:schemeClr val="accent2"/>
              </a:gs>
              <a:gs pos="50000">
                <a:srgbClr val="F10000"/>
              </a:gs>
              <a:gs pos="100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7" name="TextBox 36"/>
          <p:cNvSpPr txBox="1"/>
          <p:nvPr/>
        </p:nvSpPr>
        <p:spPr>
          <a:xfrm>
            <a:off x="8750131" y="4912188"/>
            <a:ext cx="280846" cy="184666"/>
          </a:xfrm>
          <a:prstGeom prst="rect">
            <a:avLst/>
          </a:prstGeom>
          <a:noFill/>
        </p:spPr>
        <p:txBody>
          <a:bodyPr wrap="none" rtlCol="0">
            <a:spAutoFit/>
          </a:bodyPr>
          <a:lstStyle/>
          <a:p>
            <a:pPr algn="l"/>
            <a:fld id="{111F478C-84AE-4601-9BE4-60468A3A6C06}" type="slidenum">
              <a:rPr lang="en-US" sz="600" b="1" i="0" smtClean="0">
                <a:solidFill>
                  <a:schemeClr val="bg1"/>
                </a:solidFill>
                <a:latin typeface="Neue Haas Grotesk Text Pro" panose="020B0504020202020204" pitchFamily="34" charset="77"/>
              </a:rPr>
              <a:pPr algn="l"/>
              <a:t>‹#›</a:t>
            </a:fld>
            <a:endParaRPr lang="en-US" sz="600" b="1" i="0">
              <a:solidFill>
                <a:schemeClr val="bg1"/>
              </a:solidFill>
              <a:latin typeface="Neue Haas Grotesk Text Pro" panose="020B0504020202020204" pitchFamily="34" charset="77"/>
            </a:endParaRPr>
          </a:p>
        </p:txBody>
      </p:sp>
      <p:sp>
        <p:nvSpPr>
          <p:cNvPr id="13" name="Text Placeholder 53"/>
          <p:cNvSpPr>
            <a:spLocks noGrp="1"/>
          </p:cNvSpPr>
          <p:nvPr>
            <p:ph type="body" idx="1"/>
          </p:nvPr>
        </p:nvSpPr>
        <p:spPr>
          <a:xfrm>
            <a:off x="264160" y="893234"/>
            <a:ext cx="7757971" cy="100694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p>
        </p:txBody>
      </p:sp>
      <p:sp>
        <p:nvSpPr>
          <p:cNvPr id="16" name="Title Placeholder 1"/>
          <p:cNvSpPr>
            <a:spLocks noGrp="1"/>
          </p:cNvSpPr>
          <p:nvPr>
            <p:ph type="title"/>
          </p:nvPr>
        </p:nvSpPr>
        <p:spPr>
          <a:xfrm>
            <a:off x="264160" y="53113"/>
            <a:ext cx="7051040" cy="732441"/>
          </a:xfrm>
          <a:prstGeom prst="rect">
            <a:avLst/>
          </a:prstGeom>
        </p:spPr>
        <p:txBody>
          <a:bodyPr vert="horz" lIns="72000" tIns="0" rIns="91440" bIns="0" rtlCol="0" anchor="ctr">
            <a:normAutofit/>
          </a:bodyPr>
          <a:lstStyle/>
          <a:p>
            <a:pPr lvl="0"/>
            <a:r>
              <a:rPr lang="en-US"/>
              <a:t>Click to edit Master title style</a:t>
            </a:r>
          </a:p>
        </p:txBody>
      </p:sp>
      <p:sp>
        <p:nvSpPr>
          <p:cNvPr id="32" name="TextBox 31">
            <a:extLst>
              <a:ext uri="{FF2B5EF4-FFF2-40B4-BE49-F238E27FC236}">
                <a16:creationId xmlns:a16="http://schemas.microsoft.com/office/drawing/2014/main" id="{B4AEEDCA-9AEA-934A-9941-5F6114A67B61}"/>
              </a:ext>
            </a:extLst>
          </p:cNvPr>
          <p:cNvSpPr txBox="1"/>
          <p:nvPr userDrawn="1"/>
        </p:nvSpPr>
        <p:spPr>
          <a:xfrm>
            <a:off x="6720408" y="4912188"/>
            <a:ext cx="2029723" cy="184666"/>
          </a:xfrm>
          <a:prstGeom prst="rect">
            <a:avLst/>
          </a:prstGeom>
          <a:noFill/>
        </p:spPr>
        <p:txBody>
          <a:bodyPr wrap="non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600" b="1" i="0" kern="1200">
                <a:solidFill>
                  <a:schemeClr val="bg1"/>
                </a:solidFill>
                <a:latin typeface="Neue Haas Grotesk Text Pro" panose="020B0504020202020204" pitchFamily="34" charset="77"/>
                <a:ea typeface="+mn-ea"/>
                <a:cs typeface="+mn-cs"/>
              </a:rPr>
              <a:t>© Hitachi Vantara LLC 2024. All Rights Reserved.</a:t>
            </a:r>
          </a:p>
        </p:txBody>
      </p:sp>
      <p:pic>
        <p:nvPicPr>
          <p:cNvPr id="8" name="Picture 7">
            <a:extLst>
              <a:ext uri="{FF2B5EF4-FFF2-40B4-BE49-F238E27FC236}">
                <a16:creationId xmlns:a16="http://schemas.microsoft.com/office/drawing/2014/main" id="{A5B4A74E-E22D-F4CA-940B-EA2F19C1A1E4}"/>
              </a:ext>
            </a:extLst>
          </p:cNvPr>
          <p:cNvPicPr>
            <a:picLocks noChangeAspect="1"/>
          </p:cNvPicPr>
          <p:nvPr userDrawn="1"/>
        </p:nvPicPr>
        <p:blipFill>
          <a:blip r:embed="rId8"/>
          <a:stretch>
            <a:fillRect/>
          </a:stretch>
        </p:blipFill>
        <p:spPr>
          <a:xfrm>
            <a:off x="184150" y="4852883"/>
            <a:ext cx="1435101" cy="251667"/>
          </a:xfrm>
          <a:prstGeom prst="rect">
            <a:avLst/>
          </a:prstGeom>
        </p:spPr>
      </p:pic>
    </p:spTree>
    <p:extLst>
      <p:ext uri="{BB962C8B-B14F-4D97-AF65-F5344CB8AC3E}">
        <p14:creationId xmlns:p14="http://schemas.microsoft.com/office/powerpoint/2010/main" val="452100783"/>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5000"/>
        </a:lnSpc>
        <a:spcBef>
          <a:spcPct val="0"/>
        </a:spcBef>
        <a:buNone/>
        <a:defRPr lang="en-US" sz="2200" b="1" i="0" kern="1200" cap="none" dirty="0" smtClean="0">
          <a:solidFill>
            <a:schemeClr val="tx2"/>
          </a:solidFill>
          <a:latin typeface="Neue Haas Grotesk Text Pro" panose="020B0504020202020204" pitchFamily="34" charset="77"/>
          <a:ea typeface="+mj-ea"/>
          <a:cs typeface="+mj-cs"/>
        </a:defRPr>
      </a:lvl1pPr>
    </p:titleStyle>
    <p:bodyStyle>
      <a:lvl1pPr marL="252000" indent="-108000" algn="l" defTabSz="914400" rtl="0" eaLnBrk="1" latinLnBrk="0" hangingPunct="1">
        <a:lnSpc>
          <a:spcPct val="100000"/>
        </a:lnSpc>
        <a:spcBef>
          <a:spcPts val="0"/>
        </a:spcBef>
        <a:spcAft>
          <a:spcPts val="200"/>
        </a:spcAft>
        <a:buClr>
          <a:schemeClr val="tx2"/>
        </a:buClr>
        <a:buFont typeface="Arial" panose="020B0604020202020204" pitchFamily="34" charset="0"/>
        <a:buChar char="•"/>
        <a:defRPr lang="en-US" sz="1600" b="0" i="0" kern="1200" dirty="0" smtClean="0">
          <a:solidFill>
            <a:schemeClr val="tx2"/>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tx2"/>
        </a:buClr>
        <a:buFont typeface="Arial" panose="020B0604020202020204" pitchFamily="34" charset="0"/>
        <a:buChar char="•"/>
        <a:defRPr lang="en-US" sz="1300" b="0" i="0" kern="1200" dirty="0" smtClean="0">
          <a:solidFill>
            <a:schemeClr val="tx2"/>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900" b="0" i="0" kern="1200" dirty="0" smtClean="0">
          <a:solidFill>
            <a:schemeClr val="tx2"/>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smtClean="0">
          <a:solidFill>
            <a:schemeClr val="tx2"/>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a:solidFill>
            <a:schemeClr val="tx2"/>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154.png"/><Relationship Id="rId13" Type="http://schemas.openxmlformats.org/officeDocument/2006/relationships/image" Target="../media/image159.svg"/><Relationship Id="rId18" Type="http://schemas.openxmlformats.org/officeDocument/2006/relationships/image" Target="../media/image64.png"/><Relationship Id="rId26" Type="http://schemas.openxmlformats.org/officeDocument/2006/relationships/image" Target="../media/image170.png"/><Relationship Id="rId3" Type="http://schemas.openxmlformats.org/officeDocument/2006/relationships/image" Target="../media/image149.svg"/><Relationship Id="rId21" Type="http://schemas.openxmlformats.org/officeDocument/2006/relationships/image" Target="../media/image165.svg"/><Relationship Id="rId7" Type="http://schemas.openxmlformats.org/officeDocument/2006/relationships/image" Target="../media/image153.svg"/><Relationship Id="rId12" Type="http://schemas.openxmlformats.org/officeDocument/2006/relationships/image" Target="../media/image158.png"/><Relationship Id="rId17" Type="http://schemas.openxmlformats.org/officeDocument/2006/relationships/image" Target="../media/image163.svg"/><Relationship Id="rId25" Type="http://schemas.openxmlformats.org/officeDocument/2006/relationships/image" Target="../media/image169.svg"/><Relationship Id="rId2" Type="http://schemas.openxmlformats.org/officeDocument/2006/relationships/image" Target="../media/image148.png"/><Relationship Id="rId16" Type="http://schemas.openxmlformats.org/officeDocument/2006/relationships/image" Target="../media/image162.png"/><Relationship Id="rId20" Type="http://schemas.openxmlformats.org/officeDocument/2006/relationships/image" Target="../media/image164.png"/><Relationship Id="rId29" Type="http://schemas.openxmlformats.org/officeDocument/2006/relationships/image" Target="../media/image173.svg"/><Relationship Id="rId1" Type="http://schemas.openxmlformats.org/officeDocument/2006/relationships/slideLayout" Target="../slideLayouts/slideLayout1.xml"/><Relationship Id="rId6" Type="http://schemas.openxmlformats.org/officeDocument/2006/relationships/image" Target="../media/image152.png"/><Relationship Id="rId11" Type="http://schemas.openxmlformats.org/officeDocument/2006/relationships/image" Target="../media/image157.svg"/><Relationship Id="rId24" Type="http://schemas.openxmlformats.org/officeDocument/2006/relationships/image" Target="../media/image168.png"/><Relationship Id="rId5" Type="http://schemas.openxmlformats.org/officeDocument/2006/relationships/image" Target="../media/image151.svg"/><Relationship Id="rId15" Type="http://schemas.openxmlformats.org/officeDocument/2006/relationships/image" Target="../media/image161.svg"/><Relationship Id="rId23" Type="http://schemas.openxmlformats.org/officeDocument/2006/relationships/image" Target="../media/image167.svg"/><Relationship Id="rId28" Type="http://schemas.openxmlformats.org/officeDocument/2006/relationships/image" Target="../media/image172.png"/><Relationship Id="rId10" Type="http://schemas.openxmlformats.org/officeDocument/2006/relationships/image" Target="../media/image156.png"/><Relationship Id="rId19" Type="http://schemas.openxmlformats.org/officeDocument/2006/relationships/image" Target="../media/image65.svg"/><Relationship Id="rId31" Type="http://schemas.openxmlformats.org/officeDocument/2006/relationships/image" Target="../media/image104.svg"/><Relationship Id="rId4" Type="http://schemas.openxmlformats.org/officeDocument/2006/relationships/image" Target="../media/image150.png"/><Relationship Id="rId9" Type="http://schemas.openxmlformats.org/officeDocument/2006/relationships/image" Target="../media/image155.svg"/><Relationship Id="rId14" Type="http://schemas.openxmlformats.org/officeDocument/2006/relationships/image" Target="../media/image160.png"/><Relationship Id="rId22" Type="http://schemas.openxmlformats.org/officeDocument/2006/relationships/image" Target="../media/image166.png"/><Relationship Id="rId27" Type="http://schemas.openxmlformats.org/officeDocument/2006/relationships/image" Target="../media/image171.svg"/><Relationship Id="rId30" Type="http://schemas.openxmlformats.org/officeDocument/2006/relationships/image" Target="../media/image103.png"/></Relationships>
</file>

<file path=ppt/slides/_rels/slide11.xml.rels><?xml version="1.0" encoding="UTF-8" standalone="yes"?>
<Relationships xmlns="http://schemas.openxmlformats.org/package/2006/relationships"><Relationship Id="rId8" Type="http://schemas.openxmlformats.org/officeDocument/2006/relationships/image" Target="../media/image180.png"/><Relationship Id="rId13" Type="http://schemas.openxmlformats.org/officeDocument/2006/relationships/image" Target="../media/image185.svg"/><Relationship Id="rId3" Type="http://schemas.openxmlformats.org/officeDocument/2006/relationships/image" Target="../media/image175.svg"/><Relationship Id="rId7" Type="http://schemas.openxmlformats.org/officeDocument/2006/relationships/image" Target="../media/image179.svg"/><Relationship Id="rId12" Type="http://schemas.openxmlformats.org/officeDocument/2006/relationships/image" Target="../media/image184.png"/><Relationship Id="rId2" Type="http://schemas.openxmlformats.org/officeDocument/2006/relationships/image" Target="../media/image174.png"/><Relationship Id="rId1" Type="http://schemas.openxmlformats.org/officeDocument/2006/relationships/slideLayout" Target="../slideLayouts/slideLayout1.xml"/><Relationship Id="rId6" Type="http://schemas.openxmlformats.org/officeDocument/2006/relationships/image" Target="../media/image178.png"/><Relationship Id="rId11" Type="http://schemas.openxmlformats.org/officeDocument/2006/relationships/image" Target="../media/image183.svg"/><Relationship Id="rId5" Type="http://schemas.openxmlformats.org/officeDocument/2006/relationships/image" Target="../media/image177.svg"/><Relationship Id="rId10" Type="http://schemas.openxmlformats.org/officeDocument/2006/relationships/image" Target="../media/image182.png"/><Relationship Id="rId4" Type="http://schemas.openxmlformats.org/officeDocument/2006/relationships/image" Target="../media/image176.png"/><Relationship Id="rId9" Type="http://schemas.openxmlformats.org/officeDocument/2006/relationships/image" Target="../media/image181.svg"/></Relationships>
</file>

<file path=ppt/slides/_rels/slide12.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hyperlink" Target="https://www.idc.com/getdoc.jsp?containerId=US51824824&amp;pageType=PRINTFRIENDLY" TargetMode="External"/><Relationship Id="rId7" Type="http://schemas.openxmlformats.org/officeDocument/2006/relationships/image" Target="../media/image189.png"/><Relationship Id="rId12" Type="http://schemas.openxmlformats.org/officeDocument/2006/relationships/image" Target="../media/image194.png"/><Relationship Id="rId2" Type="http://schemas.openxmlformats.org/officeDocument/2006/relationships/image" Target="../media/image186.png"/><Relationship Id="rId1" Type="http://schemas.openxmlformats.org/officeDocument/2006/relationships/slideLayout" Target="../slideLayouts/slideLayout1.xml"/><Relationship Id="rId6" Type="http://schemas.openxmlformats.org/officeDocument/2006/relationships/image" Target="../media/image188.png"/><Relationship Id="rId11" Type="http://schemas.openxmlformats.org/officeDocument/2006/relationships/image" Target="../media/image193.png"/><Relationship Id="rId5" Type="http://schemas.openxmlformats.org/officeDocument/2006/relationships/image" Target="../media/image187.png"/><Relationship Id="rId10" Type="http://schemas.openxmlformats.org/officeDocument/2006/relationships/image" Target="../media/image192.png"/><Relationship Id="rId4" Type="http://schemas.openxmlformats.org/officeDocument/2006/relationships/hyperlink" Target="https://www.constellationr.com/blog-news/insights/hitachi-vantara-cisco-launch-hybrid-cloud-suite" TargetMode="External"/><Relationship Id="rId9" Type="http://schemas.openxmlformats.org/officeDocument/2006/relationships/image" Target="../media/image19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206.svg"/><Relationship Id="rId3" Type="http://schemas.openxmlformats.org/officeDocument/2006/relationships/image" Target="../media/image196.svg"/><Relationship Id="rId7" Type="http://schemas.openxmlformats.org/officeDocument/2006/relationships/image" Target="../media/image200.svg"/><Relationship Id="rId12" Type="http://schemas.openxmlformats.org/officeDocument/2006/relationships/image" Target="../media/image205.png"/><Relationship Id="rId2" Type="http://schemas.openxmlformats.org/officeDocument/2006/relationships/image" Target="../media/image195.png"/><Relationship Id="rId1" Type="http://schemas.openxmlformats.org/officeDocument/2006/relationships/slideLayout" Target="../slideLayouts/slideLayout1.xml"/><Relationship Id="rId6" Type="http://schemas.openxmlformats.org/officeDocument/2006/relationships/image" Target="../media/image199.png"/><Relationship Id="rId11" Type="http://schemas.openxmlformats.org/officeDocument/2006/relationships/image" Target="../media/image204.svg"/><Relationship Id="rId5" Type="http://schemas.openxmlformats.org/officeDocument/2006/relationships/image" Target="../media/image198.svg"/><Relationship Id="rId10" Type="http://schemas.openxmlformats.org/officeDocument/2006/relationships/image" Target="../media/image203.png"/><Relationship Id="rId4" Type="http://schemas.openxmlformats.org/officeDocument/2006/relationships/image" Target="../media/image197.png"/><Relationship Id="rId9" Type="http://schemas.openxmlformats.org/officeDocument/2006/relationships/image" Target="../media/image202.svg"/></Relationships>
</file>

<file path=ppt/slides/_rels/slide15.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svg"/><Relationship Id="rId7" Type="http://schemas.openxmlformats.org/officeDocument/2006/relationships/image" Target="../media/image212.svg"/><Relationship Id="rId12" Type="http://schemas.openxmlformats.org/officeDocument/2006/relationships/image" Target="../media/image217.svg"/><Relationship Id="rId2" Type="http://schemas.openxmlformats.org/officeDocument/2006/relationships/image" Target="../media/image207.png"/><Relationship Id="rId1" Type="http://schemas.openxmlformats.org/officeDocument/2006/relationships/slideLayout" Target="../slideLayouts/slideLayout1.xml"/><Relationship Id="rId6" Type="http://schemas.openxmlformats.org/officeDocument/2006/relationships/image" Target="../media/image211.png"/><Relationship Id="rId11" Type="http://schemas.openxmlformats.org/officeDocument/2006/relationships/image" Target="../media/image216.png"/><Relationship Id="rId5" Type="http://schemas.openxmlformats.org/officeDocument/2006/relationships/image" Target="../media/image210.svg"/><Relationship Id="rId10" Type="http://schemas.openxmlformats.org/officeDocument/2006/relationships/image" Target="../media/image215.png"/><Relationship Id="rId4" Type="http://schemas.openxmlformats.org/officeDocument/2006/relationships/image" Target="../media/image209.png"/><Relationship Id="rId9" Type="http://schemas.openxmlformats.org/officeDocument/2006/relationships/image" Target="../media/image214.svg"/></Relationships>
</file>

<file path=ppt/slides/_rels/slide16.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image" Target="../media/image219.svg"/><Relationship Id="rId7" Type="http://schemas.openxmlformats.org/officeDocument/2006/relationships/image" Target="../media/image223.svg"/><Relationship Id="rId2" Type="http://schemas.openxmlformats.org/officeDocument/2006/relationships/image" Target="../media/image218.png"/><Relationship Id="rId1" Type="http://schemas.openxmlformats.org/officeDocument/2006/relationships/slideLayout" Target="../slideLayouts/slideLayout1.xml"/><Relationship Id="rId6" Type="http://schemas.openxmlformats.org/officeDocument/2006/relationships/image" Target="../media/image222.png"/><Relationship Id="rId11" Type="http://schemas.openxmlformats.org/officeDocument/2006/relationships/image" Target="../media/image227.svg"/><Relationship Id="rId5" Type="http://schemas.openxmlformats.org/officeDocument/2006/relationships/image" Target="../media/image221.svg"/><Relationship Id="rId10" Type="http://schemas.openxmlformats.org/officeDocument/2006/relationships/image" Target="../media/image226.png"/><Relationship Id="rId4" Type="http://schemas.openxmlformats.org/officeDocument/2006/relationships/image" Target="../media/image220.png"/><Relationship Id="rId9" Type="http://schemas.openxmlformats.org/officeDocument/2006/relationships/image" Target="../media/image225.svg"/></Relationships>
</file>

<file path=ppt/slides/_rels/slide17.xml.rels><?xml version="1.0" encoding="UTF-8" standalone="yes"?>
<Relationships xmlns="http://schemas.openxmlformats.org/package/2006/relationships"><Relationship Id="rId3" Type="http://schemas.openxmlformats.org/officeDocument/2006/relationships/image" Target="../media/image229.svg"/><Relationship Id="rId2" Type="http://schemas.openxmlformats.org/officeDocument/2006/relationships/image" Target="../media/image228.png"/><Relationship Id="rId1" Type="http://schemas.openxmlformats.org/officeDocument/2006/relationships/slideLayout" Target="../slideLayouts/slideLayout1.xml"/><Relationship Id="rId5" Type="http://schemas.openxmlformats.org/officeDocument/2006/relationships/image" Target="../media/image231.svg"/><Relationship Id="rId4" Type="http://schemas.openxmlformats.org/officeDocument/2006/relationships/image" Target="../media/image23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38.png"/><Relationship Id="rId13" Type="http://schemas.openxmlformats.org/officeDocument/2006/relationships/image" Target="../media/image241.svg"/><Relationship Id="rId3" Type="http://schemas.openxmlformats.org/officeDocument/2006/relationships/image" Target="../media/image233.svg"/><Relationship Id="rId7" Type="http://schemas.openxmlformats.org/officeDocument/2006/relationships/image" Target="../media/image237.svg"/><Relationship Id="rId12" Type="http://schemas.openxmlformats.org/officeDocument/2006/relationships/image" Target="../media/image240.png"/><Relationship Id="rId17" Type="http://schemas.openxmlformats.org/officeDocument/2006/relationships/image" Target="../media/image245.svg"/><Relationship Id="rId2" Type="http://schemas.openxmlformats.org/officeDocument/2006/relationships/image" Target="../media/image232.png"/><Relationship Id="rId16" Type="http://schemas.openxmlformats.org/officeDocument/2006/relationships/image" Target="../media/image244.png"/><Relationship Id="rId1" Type="http://schemas.openxmlformats.org/officeDocument/2006/relationships/slideLayout" Target="../slideLayouts/slideLayout1.xml"/><Relationship Id="rId6" Type="http://schemas.openxmlformats.org/officeDocument/2006/relationships/image" Target="../media/image236.png"/><Relationship Id="rId11" Type="http://schemas.openxmlformats.org/officeDocument/2006/relationships/image" Target="../media/image118.svg"/><Relationship Id="rId5" Type="http://schemas.openxmlformats.org/officeDocument/2006/relationships/image" Target="../media/image235.svg"/><Relationship Id="rId15" Type="http://schemas.openxmlformats.org/officeDocument/2006/relationships/image" Target="../media/image243.svg"/><Relationship Id="rId10" Type="http://schemas.openxmlformats.org/officeDocument/2006/relationships/image" Target="../media/image117.png"/><Relationship Id="rId4" Type="http://schemas.openxmlformats.org/officeDocument/2006/relationships/image" Target="../media/image234.png"/><Relationship Id="rId9" Type="http://schemas.openxmlformats.org/officeDocument/2006/relationships/image" Target="../media/image239.svg"/><Relationship Id="rId14" Type="http://schemas.openxmlformats.org/officeDocument/2006/relationships/image" Target="../media/image242.png"/></Relationships>
</file>

<file path=ppt/slides/_rels/slide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jpeg"/></Relationships>
</file>

<file path=ppt/slides/_rels/slide20.xml.rels><?xml version="1.0" encoding="UTF-8" standalone="yes"?>
<Relationships xmlns="http://schemas.openxmlformats.org/package/2006/relationships"><Relationship Id="rId3" Type="http://schemas.openxmlformats.org/officeDocument/2006/relationships/image" Target="../media/image247.svg"/><Relationship Id="rId2" Type="http://schemas.openxmlformats.org/officeDocument/2006/relationships/image" Target="../media/image24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254.svg"/><Relationship Id="rId3" Type="http://schemas.openxmlformats.org/officeDocument/2006/relationships/image" Target="../media/image249.png"/><Relationship Id="rId7" Type="http://schemas.openxmlformats.org/officeDocument/2006/relationships/image" Target="../media/image253.png"/><Relationship Id="rId12" Type="http://schemas.openxmlformats.org/officeDocument/2006/relationships/image" Target="../media/image258.svg"/><Relationship Id="rId2" Type="http://schemas.openxmlformats.org/officeDocument/2006/relationships/image" Target="../media/image248.jpeg"/><Relationship Id="rId1" Type="http://schemas.openxmlformats.org/officeDocument/2006/relationships/slideLayout" Target="../slideLayouts/slideLayout1.xml"/><Relationship Id="rId6" Type="http://schemas.openxmlformats.org/officeDocument/2006/relationships/image" Target="../media/image252.svg"/><Relationship Id="rId11" Type="http://schemas.openxmlformats.org/officeDocument/2006/relationships/image" Target="../media/image257.png"/><Relationship Id="rId5" Type="http://schemas.openxmlformats.org/officeDocument/2006/relationships/image" Target="../media/image251.png"/><Relationship Id="rId10" Type="http://schemas.openxmlformats.org/officeDocument/2006/relationships/image" Target="../media/image256.svg"/><Relationship Id="rId4" Type="http://schemas.openxmlformats.org/officeDocument/2006/relationships/image" Target="../media/image250.svg"/><Relationship Id="rId9" Type="http://schemas.openxmlformats.org/officeDocument/2006/relationships/image" Target="../media/image25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0.svg"/><Relationship Id="rId7" Type="http://schemas.openxmlformats.org/officeDocument/2006/relationships/image" Target="../media/image264.svg"/><Relationship Id="rId2" Type="http://schemas.openxmlformats.org/officeDocument/2006/relationships/image" Target="../media/image259.png"/><Relationship Id="rId1" Type="http://schemas.openxmlformats.org/officeDocument/2006/relationships/slideLayout" Target="../slideLayouts/slideLayout1.xml"/><Relationship Id="rId6" Type="http://schemas.openxmlformats.org/officeDocument/2006/relationships/image" Target="../media/image263.png"/><Relationship Id="rId5" Type="http://schemas.openxmlformats.org/officeDocument/2006/relationships/image" Target="../media/image262.svg"/><Relationship Id="rId4" Type="http://schemas.openxmlformats.org/officeDocument/2006/relationships/image" Target="../media/image261.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18" Type="http://schemas.openxmlformats.org/officeDocument/2006/relationships/image" Target="../media/image49.png"/><Relationship Id="rId26" Type="http://schemas.openxmlformats.org/officeDocument/2006/relationships/image" Target="../media/image57.png"/><Relationship Id="rId3" Type="http://schemas.openxmlformats.org/officeDocument/2006/relationships/image" Target="../media/image34.svg"/><Relationship Id="rId21" Type="http://schemas.openxmlformats.org/officeDocument/2006/relationships/image" Target="../media/image52.svg"/><Relationship Id="rId7" Type="http://schemas.openxmlformats.org/officeDocument/2006/relationships/image" Target="../media/image38.svg"/><Relationship Id="rId12" Type="http://schemas.openxmlformats.org/officeDocument/2006/relationships/image" Target="../media/image43.png"/><Relationship Id="rId17" Type="http://schemas.openxmlformats.org/officeDocument/2006/relationships/image" Target="../media/image48.svg"/><Relationship Id="rId25" Type="http://schemas.openxmlformats.org/officeDocument/2006/relationships/image" Target="../media/image56.svg"/><Relationship Id="rId2" Type="http://schemas.openxmlformats.org/officeDocument/2006/relationships/image" Target="../media/image33.png"/><Relationship Id="rId16" Type="http://schemas.openxmlformats.org/officeDocument/2006/relationships/image" Target="../media/image47.png"/><Relationship Id="rId20" Type="http://schemas.openxmlformats.org/officeDocument/2006/relationships/image" Target="../media/image51.png"/><Relationship Id="rId29" Type="http://schemas.openxmlformats.org/officeDocument/2006/relationships/image" Target="../media/image60.svg"/><Relationship Id="rId1" Type="http://schemas.openxmlformats.org/officeDocument/2006/relationships/slideLayout" Target="../slideLayouts/slideLayout1.xml"/><Relationship Id="rId6" Type="http://schemas.openxmlformats.org/officeDocument/2006/relationships/image" Target="../media/image37.png"/><Relationship Id="rId11" Type="http://schemas.openxmlformats.org/officeDocument/2006/relationships/image" Target="../media/image42.svg"/><Relationship Id="rId24" Type="http://schemas.openxmlformats.org/officeDocument/2006/relationships/image" Target="../media/image55.png"/><Relationship Id="rId5" Type="http://schemas.openxmlformats.org/officeDocument/2006/relationships/image" Target="../media/image36.svg"/><Relationship Id="rId15" Type="http://schemas.openxmlformats.org/officeDocument/2006/relationships/image" Target="../media/image46.svg"/><Relationship Id="rId23" Type="http://schemas.openxmlformats.org/officeDocument/2006/relationships/image" Target="../media/image54.svg"/><Relationship Id="rId28" Type="http://schemas.openxmlformats.org/officeDocument/2006/relationships/image" Target="../media/image59.png"/><Relationship Id="rId10" Type="http://schemas.openxmlformats.org/officeDocument/2006/relationships/image" Target="../media/image41.png"/><Relationship Id="rId19" Type="http://schemas.openxmlformats.org/officeDocument/2006/relationships/image" Target="../media/image50.svg"/><Relationship Id="rId31" Type="http://schemas.openxmlformats.org/officeDocument/2006/relationships/image" Target="../media/image62.sv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 Id="rId22" Type="http://schemas.openxmlformats.org/officeDocument/2006/relationships/image" Target="../media/image53.png"/><Relationship Id="rId27" Type="http://schemas.openxmlformats.org/officeDocument/2006/relationships/image" Target="../media/image58.svg"/><Relationship Id="rId30" Type="http://schemas.openxmlformats.org/officeDocument/2006/relationships/image" Target="../media/image61.png"/></Relationships>
</file>

<file path=ppt/slides/_rels/slide6.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18" Type="http://schemas.openxmlformats.org/officeDocument/2006/relationships/image" Target="../media/image79.svg"/><Relationship Id="rId3" Type="http://schemas.openxmlformats.org/officeDocument/2006/relationships/image" Target="../media/image64.png"/><Relationship Id="rId21" Type="http://schemas.openxmlformats.org/officeDocument/2006/relationships/image" Target="../media/image82.pn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78.png"/><Relationship Id="rId2" Type="http://schemas.openxmlformats.org/officeDocument/2006/relationships/image" Target="../media/image63.jpeg"/><Relationship Id="rId16" Type="http://schemas.openxmlformats.org/officeDocument/2006/relationships/image" Target="../media/image77.svg"/><Relationship Id="rId20" Type="http://schemas.openxmlformats.org/officeDocument/2006/relationships/image" Target="../media/image81.svg"/><Relationship Id="rId1" Type="http://schemas.openxmlformats.org/officeDocument/2006/relationships/slideLayout" Target="../slideLayouts/slideLayout1.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svg"/><Relationship Id="rId19" Type="http://schemas.openxmlformats.org/officeDocument/2006/relationships/image" Target="../media/image80.png"/><Relationship Id="rId4" Type="http://schemas.openxmlformats.org/officeDocument/2006/relationships/image" Target="../media/image65.svg"/><Relationship Id="rId9" Type="http://schemas.openxmlformats.org/officeDocument/2006/relationships/image" Target="../media/image70.png"/><Relationship Id="rId14" Type="http://schemas.openxmlformats.org/officeDocument/2006/relationships/image" Target="../media/image75.svg"/><Relationship Id="rId22" Type="http://schemas.openxmlformats.org/officeDocument/2006/relationships/image" Target="../media/image83.svg"/></Relationships>
</file>

<file path=ppt/slides/_rels/slide7.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3" Type="http://schemas.openxmlformats.org/officeDocument/2006/relationships/image" Target="../media/image85.svg"/><Relationship Id="rId7" Type="http://schemas.openxmlformats.org/officeDocument/2006/relationships/image" Target="../media/image89.svg"/><Relationship Id="rId12" Type="http://schemas.openxmlformats.org/officeDocument/2006/relationships/image" Target="../media/image94.png"/><Relationship Id="rId2" Type="http://schemas.openxmlformats.org/officeDocument/2006/relationships/image" Target="../media/image84.png"/><Relationship Id="rId1" Type="http://schemas.openxmlformats.org/officeDocument/2006/relationships/slideLayout" Target="../slideLayouts/slideLayout1.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7.sv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svg"/></Relationships>
</file>

<file path=ppt/slides/_rels/slide8.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07.png"/><Relationship Id="rId18" Type="http://schemas.openxmlformats.org/officeDocument/2006/relationships/image" Target="../media/image112.sv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svg"/><Relationship Id="rId17" Type="http://schemas.openxmlformats.org/officeDocument/2006/relationships/image" Target="../media/image111.png"/><Relationship Id="rId2" Type="http://schemas.openxmlformats.org/officeDocument/2006/relationships/image" Target="../media/image96.png"/><Relationship Id="rId16" Type="http://schemas.openxmlformats.org/officeDocument/2006/relationships/image" Target="../media/image110.svg"/><Relationship Id="rId20" Type="http://schemas.openxmlformats.org/officeDocument/2006/relationships/image" Target="../media/image114.svg"/><Relationship Id="rId1" Type="http://schemas.openxmlformats.org/officeDocument/2006/relationships/slideLayout" Target="../slideLayouts/slideLayout1.xml"/><Relationship Id="rId6" Type="http://schemas.openxmlformats.org/officeDocument/2006/relationships/image" Target="../media/image100.sv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svg"/><Relationship Id="rId19" Type="http://schemas.openxmlformats.org/officeDocument/2006/relationships/image" Target="../media/image113.png"/><Relationship Id="rId4" Type="http://schemas.openxmlformats.org/officeDocument/2006/relationships/image" Target="../media/image98.svg"/><Relationship Id="rId9" Type="http://schemas.openxmlformats.org/officeDocument/2006/relationships/image" Target="../media/image103.png"/><Relationship Id="rId14" Type="http://schemas.openxmlformats.org/officeDocument/2006/relationships/image" Target="../media/image108.svg"/><Relationship Id="rId22" Type="http://schemas.openxmlformats.org/officeDocument/2006/relationships/image" Target="../media/image116.svg"/></Relationships>
</file>

<file path=ppt/slides/_rels/slide9.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18" Type="http://schemas.openxmlformats.org/officeDocument/2006/relationships/image" Target="../media/image133.png"/><Relationship Id="rId26" Type="http://schemas.openxmlformats.org/officeDocument/2006/relationships/image" Target="../media/image141.png"/><Relationship Id="rId3" Type="http://schemas.openxmlformats.org/officeDocument/2006/relationships/image" Target="../media/image118.svg"/><Relationship Id="rId21" Type="http://schemas.openxmlformats.org/officeDocument/2006/relationships/image" Target="../media/image136.png"/><Relationship Id="rId7" Type="http://schemas.openxmlformats.org/officeDocument/2006/relationships/image" Target="../media/image122.svg"/><Relationship Id="rId12" Type="http://schemas.openxmlformats.org/officeDocument/2006/relationships/image" Target="../media/image127.png"/><Relationship Id="rId17" Type="http://schemas.openxmlformats.org/officeDocument/2006/relationships/image" Target="../media/image132.png"/><Relationship Id="rId25" Type="http://schemas.openxmlformats.org/officeDocument/2006/relationships/image" Target="../media/image140.png"/><Relationship Id="rId2" Type="http://schemas.openxmlformats.org/officeDocument/2006/relationships/image" Target="../media/image117.png"/><Relationship Id="rId16" Type="http://schemas.openxmlformats.org/officeDocument/2006/relationships/image" Target="../media/image131.png"/><Relationship Id="rId20" Type="http://schemas.openxmlformats.org/officeDocument/2006/relationships/image" Target="../media/image135.png"/><Relationship Id="rId29" Type="http://schemas.openxmlformats.org/officeDocument/2006/relationships/image" Target="../media/image144.svg"/><Relationship Id="rId1" Type="http://schemas.openxmlformats.org/officeDocument/2006/relationships/slideLayout" Target="../slideLayouts/slideLayout1.xml"/><Relationship Id="rId6" Type="http://schemas.openxmlformats.org/officeDocument/2006/relationships/image" Target="../media/image121.png"/><Relationship Id="rId11" Type="http://schemas.openxmlformats.org/officeDocument/2006/relationships/image" Target="../media/image126.svg"/><Relationship Id="rId24" Type="http://schemas.openxmlformats.org/officeDocument/2006/relationships/image" Target="../media/image139.png"/><Relationship Id="rId32" Type="http://schemas.openxmlformats.org/officeDocument/2006/relationships/image" Target="../media/image147.png"/><Relationship Id="rId5" Type="http://schemas.openxmlformats.org/officeDocument/2006/relationships/image" Target="../media/image120.svg"/><Relationship Id="rId15" Type="http://schemas.openxmlformats.org/officeDocument/2006/relationships/image" Target="../media/image130.svg"/><Relationship Id="rId23" Type="http://schemas.openxmlformats.org/officeDocument/2006/relationships/image" Target="../media/image138.png"/><Relationship Id="rId28" Type="http://schemas.openxmlformats.org/officeDocument/2006/relationships/image" Target="../media/image143.png"/><Relationship Id="rId10" Type="http://schemas.openxmlformats.org/officeDocument/2006/relationships/image" Target="../media/image125.png"/><Relationship Id="rId19" Type="http://schemas.openxmlformats.org/officeDocument/2006/relationships/image" Target="../media/image134.svg"/><Relationship Id="rId31" Type="http://schemas.openxmlformats.org/officeDocument/2006/relationships/image" Target="../media/image146.svg"/><Relationship Id="rId4" Type="http://schemas.openxmlformats.org/officeDocument/2006/relationships/image" Target="../media/image119.png"/><Relationship Id="rId9" Type="http://schemas.openxmlformats.org/officeDocument/2006/relationships/image" Target="../media/image124.svg"/><Relationship Id="rId14" Type="http://schemas.openxmlformats.org/officeDocument/2006/relationships/image" Target="../media/image129.png"/><Relationship Id="rId22" Type="http://schemas.openxmlformats.org/officeDocument/2006/relationships/image" Target="../media/image137.png"/><Relationship Id="rId27" Type="http://schemas.openxmlformats.org/officeDocument/2006/relationships/image" Target="../media/image142.png"/><Relationship Id="rId30" Type="http://schemas.openxmlformats.org/officeDocument/2006/relationships/image" Target="../media/image1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People shaking hands">
            <a:extLst>
              <a:ext uri="{FF2B5EF4-FFF2-40B4-BE49-F238E27FC236}">
                <a16:creationId xmlns:a16="http://schemas.microsoft.com/office/drawing/2014/main" id="{4C454E46-1469-DBB8-6741-F15788C1CA19}"/>
              </a:ext>
            </a:extLst>
          </p:cNvPr>
          <p:cNvPicPr>
            <a:picLocks noGrp="1" noChangeAspect="1"/>
          </p:cNvPicPr>
          <p:nvPr>
            <p:ph type="pic" sz="quarter" idx="13"/>
          </p:nvPr>
        </p:nvPicPr>
        <p:blipFill>
          <a:blip r:embed="rId2" cstate="screen">
            <a:extLst>
              <a:ext uri="{28A0092B-C50C-407E-A947-70E740481C1C}">
                <a14:useLocalDpi xmlns:a14="http://schemas.microsoft.com/office/drawing/2010/main"/>
              </a:ext>
            </a:extLst>
          </a:blip>
          <a:srcRect/>
          <a:stretch/>
        </p:blipFill>
        <p:spPr>
          <a:xfrm>
            <a:off x="5801198" y="489276"/>
            <a:ext cx="4224631" cy="4224631"/>
          </a:xfrm>
        </p:spPr>
      </p:pic>
      <p:sp>
        <p:nvSpPr>
          <p:cNvPr id="4" name="Title 3">
            <a:extLst>
              <a:ext uri="{FF2B5EF4-FFF2-40B4-BE49-F238E27FC236}">
                <a16:creationId xmlns:a16="http://schemas.microsoft.com/office/drawing/2014/main" id="{FD2E837E-F710-3FF0-7B7D-AF6E5254FBF7}"/>
              </a:ext>
            </a:extLst>
          </p:cNvPr>
          <p:cNvSpPr>
            <a:spLocks noGrp="1"/>
          </p:cNvSpPr>
          <p:nvPr>
            <p:ph type="ctrTitle"/>
          </p:nvPr>
        </p:nvSpPr>
        <p:spPr>
          <a:xfrm>
            <a:off x="681038" y="1340772"/>
            <a:ext cx="4652652" cy="1823439"/>
          </a:xfrm>
        </p:spPr>
        <p:txBody>
          <a:bodyPr vert="horz"/>
          <a:lstStyle/>
          <a:p>
            <a:r>
              <a:rPr lang="en-US" dirty="0"/>
              <a:t>Unstoppable: Enabling Hitachi + Cisco Customers &amp; Partners</a:t>
            </a:r>
            <a:endParaRPr lang="en-IN" dirty="0"/>
          </a:p>
        </p:txBody>
      </p:sp>
      <p:sp>
        <p:nvSpPr>
          <p:cNvPr id="5" name="Text Placeholder 4">
            <a:extLst>
              <a:ext uri="{FF2B5EF4-FFF2-40B4-BE49-F238E27FC236}">
                <a16:creationId xmlns:a16="http://schemas.microsoft.com/office/drawing/2014/main" id="{A738DAD7-9FBA-1482-BBC2-C29CFDF35BB7}"/>
              </a:ext>
            </a:extLst>
          </p:cNvPr>
          <p:cNvSpPr>
            <a:spLocks noGrp="1"/>
          </p:cNvSpPr>
          <p:nvPr>
            <p:ph type="body" sz="quarter" idx="11"/>
          </p:nvPr>
        </p:nvSpPr>
        <p:spPr>
          <a:xfrm>
            <a:off x="681038" y="3905250"/>
            <a:ext cx="3890962" cy="215900"/>
          </a:xfrm>
        </p:spPr>
        <p:txBody>
          <a:bodyPr wrap="square">
            <a:spAutoFit/>
          </a:bodyPr>
          <a:lstStyle/>
          <a:p>
            <a:r>
              <a:rPr lang="en-US"/>
              <a:t>Achieve Your Hybrid Cloud Goals</a:t>
            </a:r>
          </a:p>
        </p:txBody>
      </p:sp>
      <p:sp>
        <p:nvSpPr>
          <p:cNvPr id="6" name="Text Placeholder 5">
            <a:extLst>
              <a:ext uri="{FF2B5EF4-FFF2-40B4-BE49-F238E27FC236}">
                <a16:creationId xmlns:a16="http://schemas.microsoft.com/office/drawing/2014/main" id="{FEC5F6C0-8B06-A6AA-7327-4C3E87522E24}"/>
              </a:ext>
            </a:extLst>
          </p:cNvPr>
          <p:cNvSpPr>
            <a:spLocks noGrp="1"/>
          </p:cNvSpPr>
          <p:nvPr>
            <p:ph type="body" sz="quarter" idx="12"/>
          </p:nvPr>
        </p:nvSpPr>
        <p:spPr>
          <a:xfrm>
            <a:off x="681038" y="4135438"/>
            <a:ext cx="3890962" cy="407804"/>
          </a:xfrm>
        </p:spPr>
        <p:txBody>
          <a:bodyPr/>
          <a:lstStyle/>
          <a:p>
            <a:r>
              <a:rPr lang="en-US" dirty="0"/>
              <a:t>With HC² (“Hitachi / Cisco - Hybrid Cloud Partnership”)</a:t>
            </a:r>
          </a:p>
          <a:p>
            <a:r>
              <a:rPr lang="en-US" b="1" dirty="0"/>
              <a:t>“Hitachi </a:t>
            </a:r>
            <a:r>
              <a:rPr lang="en-US" b="1" dirty="0" err="1"/>
              <a:t>EverFlex</a:t>
            </a:r>
            <a:r>
              <a:rPr lang="en-US" b="1" dirty="0"/>
              <a:t> with Cisco Powered Hybrid Cloud”</a:t>
            </a:r>
          </a:p>
        </p:txBody>
      </p:sp>
    </p:spTree>
    <p:extLst>
      <p:ext uri="{BB962C8B-B14F-4D97-AF65-F5344CB8AC3E}">
        <p14:creationId xmlns:p14="http://schemas.microsoft.com/office/powerpoint/2010/main" val="866767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latin typeface="Neue Haas Grotesk Text Pro" panose="020B0504020202020204" pitchFamily="34" charset="0"/>
              </a:rPr>
              <a:t>HC</a:t>
            </a:r>
            <a:r>
              <a:rPr lang="en-US" baseline="30000">
                <a:latin typeface="Neue Haas Grotesk Text Pro" panose="020B0504020202020204" pitchFamily="34" charset="0"/>
              </a:rPr>
              <a:t>2 </a:t>
            </a:r>
            <a:r>
              <a:rPr lang="en-US">
                <a:latin typeface="Neue Haas Grotesk Text Pro" panose="020B0504020202020204" pitchFamily="34" charset="0"/>
              </a:rPr>
              <a:t>– Targeted Use Cases</a:t>
            </a:r>
            <a:endParaRPr lang="en-US" b="0">
              <a:latin typeface="Neue Haas Grotesk Text Pro" panose="020B0504020202020204" pitchFamily="34" charset="0"/>
            </a:endParaRPr>
          </a:p>
        </p:txBody>
      </p:sp>
      <p:sp>
        <p:nvSpPr>
          <p:cNvPr id="18" name="Shape1_20240810_110651">
            <a:extLst>
              <a:ext uri="{FF2B5EF4-FFF2-40B4-BE49-F238E27FC236}">
                <a16:creationId xmlns:a16="http://schemas.microsoft.com/office/drawing/2014/main" id="{AD946BD7-76A3-09FB-9972-0E88374A08E6}"/>
              </a:ext>
            </a:extLst>
          </p:cNvPr>
          <p:cNvSpPr/>
          <p:nvPr/>
        </p:nvSpPr>
        <p:spPr>
          <a:xfrm>
            <a:off x="190500" y="2278066"/>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CapEx vs OpEx</a:t>
            </a:r>
          </a:p>
        </p:txBody>
      </p:sp>
      <p:sp>
        <p:nvSpPr>
          <p:cNvPr id="19" name="Shape2_20240810_110651">
            <a:extLst>
              <a:ext uri="{FF2B5EF4-FFF2-40B4-BE49-F238E27FC236}">
                <a16:creationId xmlns:a16="http://schemas.microsoft.com/office/drawing/2014/main" id="{90110A3F-9AFE-01F5-B973-77C3F93B0F54}"/>
              </a:ext>
            </a:extLst>
          </p:cNvPr>
          <p:cNvSpPr/>
          <p:nvPr/>
        </p:nvSpPr>
        <p:spPr>
          <a:xfrm>
            <a:off x="3106808" y="2278066"/>
            <a:ext cx="2873234" cy="747017"/>
          </a:xfrm>
          <a:prstGeom prst="roundRect">
            <a:avLst>
              <a:gd name="adj" fmla="val 2000"/>
            </a:avLst>
          </a:prstGeom>
          <a:solidFill>
            <a:schemeClr val="bg1"/>
          </a:solidFill>
          <a:ln>
            <a:noFill/>
          </a:ln>
          <a:effectLst>
            <a:outerShdw blurRad="63500" algn="ctr" rotWithShape="0">
              <a:schemeClr val="accent5">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Automation &amp; Self Healing</a:t>
            </a:r>
          </a:p>
        </p:txBody>
      </p:sp>
      <p:sp>
        <p:nvSpPr>
          <p:cNvPr id="20" name="Shape3_20240810_110651">
            <a:extLst>
              <a:ext uri="{FF2B5EF4-FFF2-40B4-BE49-F238E27FC236}">
                <a16:creationId xmlns:a16="http://schemas.microsoft.com/office/drawing/2014/main" id="{FB3FFEF7-BE23-C002-C192-6BFE32EB88B6}"/>
              </a:ext>
            </a:extLst>
          </p:cNvPr>
          <p:cNvSpPr/>
          <p:nvPr/>
        </p:nvSpPr>
        <p:spPr>
          <a:xfrm>
            <a:off x="190500" y="3099150"/>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Cost Management - FinOps</a:t>
            </a:r>
          </a:p>
        </p:txBody>
      </p:sp>
      <p:sp>
        <p:nvSpPr>
          <p:cNvPr id="21" name="Shape4_20240810_110651">
            <a:extLst>
              <a:ext uri="{FF2B5EF4-FFF2-40B4-BE49-F238E27FC236}">
                <a16:creationId xmlns:a16="http://schemas.microsoft.com/office/drawing/2014/main" id="{2E9E1F8E-C069-F60B-43F2-CAF5F3D1CC6F}"/>
              </a:ext>
            </a:extLst>
          </p:cNvPr>
          <p:cNvSpPr/>
          <p:nvPr/>
        </p:nvSpPr>
        <p:spPr>
          <a:xfrm>
            <a:off x="6023116" y="3099150"/>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Hybrid Cloud Adoption</a:t>
            </a:r>
          </a:p>
        </p:txBody>
      </p:sp>
      <p:sp>
        <p:nvSpPr>
          <p:cNvPr id="22" name="Shape5_20240810_110651">
            <a:extLst>
              <a:ext uri="{FF2B5EF4-FFF2-40B4-BE49-F238E27FC236}">
                <a16:creationId xmlns:a16="http://schemas.microsoft.com/office/drawing/2014/main" id="{78AF40F8-4A2D-314B-58F7-0EBDE677C485}"/>
              </a:ext>
            </a:extLst>
          </p:cNvPr>
          <p:cNvSpPr/>
          <p:nvPr/>
        </p:nvSpPr>
        <p:spPr>
          <a:xfrm>
            <a:off x="190500" y="1456981"/>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TCO Reduction</a:t>
            </a:r>
          </a:p>
        </p:txBody>
      </p:sp>
      <p:sp>
        <p:nvSpPr>
          <p:cNvPr id="23" name="Shape6_20240810_110651">
            <a:extLst>
              <a:ext uri="{FF2B5EF4-FFF2-40B4-BE49-F238E27FC236}">
                <a16:creationId xmlns:a16="http://schemas.microsoft.com/office/drawing/2014/main" id="{0B2BBBE8-070D-698C-5198-1FE5192FF976}"/>
              </a:ext>
            </a:extLst>
          </p:cNvPr>
          <p:cNvSpPr/>
          <p:nvPr/>
        </p:nvSpPr>
        <p:spPr>
          <a:xfrm>
            <a:off x="3106808" y="1456981"/>
            <a:ext cx="2873234" cy="747017"/>
          </a:xfrm>
          <a:prstGeom prst="roundRect">
            <a:avLst>
              <a:gd name="adj" fmla="val 2000"/>
            </a:avLst>
          </a:prstGeom>
          <a:solidFill>
            <a:schemeClr val="bg1"/>
          </a:solidFill>
          <a:ln>
            <a:noFill/>
          </a:ln>
          <a:effectLst>
            <a:outerShdw blurRad="63500" algn="ctr" rotWithShape="0">
              <a:schemeClr val="accent5">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Improved Observability</a:t>
            </a:r>
          </a:p>
        </p:txBody>
      </p:sp>
      <p:sp>
        <p:nvSpPr>
          <p:cNvPr id="24" name="Shape7_20240810_110651">
            <a:extLst>
              <a:ext uri="{FF2B5EF4-FFF2-40B4-BE49-F238E27FC236}">
                <a16:creationId xmlns:a16="http://schemas.microsoft.com/office/drawing/2014/main" id="{4709C761-F00B-0392-F345-9C9B22E7E2B3}"/>
              </a:ext>
            </a:extLst>
          </p:cNvPr>
          <p:cNvSpPr/>
          <p:nvPr/>
        </p:nvSpPr>
        <p:spPr>
          <a:xfrm>
            <a:off x="6023116" y="3920233"/>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Infrastructure Modernization</a:t>
            </a:r>
          </a:p>
        </p:txBody>
      </p:sp>
      <p:sp>
        <p:nvSpPr>
          <p:cNvPr id="25" name="Shape0_20240810_110651">
            <a:extLst>
              <a:ext uri="{FF2B5EF4-FFF2-40B4-BE49-F238E27FC236}">
                <a16:creationId xmlns:a16="http://schemas.microsoft.com/office/drawing/2014/main" id="{4FB4CD01-924C-A499-6D97-C931F04561FB}"/>
              </a:ext>
            </a:extLst>
          </p:cNvPr>
          <p:cNvSpPr/>
          <p:nvPr/>
        </p:nvSpPr>
        <p:spPr>
          <a:xfrm>
            <a:off x="190500" y="3920233"/>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Sustainability Improvement</a:t>
            </a:r>
          </a:p>
        </p:txBody>
      </p:sp>
      <p:sp>
        <p:nvSpPr>
          <p:cNvPr id="26" name="Shape8_20240810_110651">
            <a:extLst>
              <a:ext uri="{FF2B5EF4-FFF2-40B4-BE49-F238E27FC236}">
                <a16:creationId xmlns:a16="http://schemas.microsoft.com/office/drawing/2014/main" id="{F9988C30-6F99-70D3-796B-0B60B76579EA}"/>
              </a:ext>
            </a:extLst>
          </p:cNvPr>
          <p:cNvSpPr/>
          <p:nvPr/>
        </p:nvSpPr>
        <p:spPr>
          <a:xfrm>
            <a:off x="6023116" y="1456981"/>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VMware Reduction</a:t>
            </a:r>
          </a:p>
        </p:txBody>
      </p:sp>
      <p:sp>
        <p:nvSpPr>
          <p:cNvPr id="27" name="Shape9_20240810_110651">
            <a:extLst>
              <a:ext uri="{FF2B5EF4-FFF2-40B4-BE49-F238E27FC236}">
                <a16:creationId xmlns:a16="http://schemas.microsoft.com/office/drawing/2014/main" id="{22D0ABF5-5824-05C1-FC11-8C29B57BF440}"/>
              </a:ext>
            </a:extLst>
          </p:cNvPr>
          <p:cNvSpPr/>
          <p:nvPr/>
        </p:nvSpPr>
        <p:spPr>
          <a:xfrm>
            <a:off x="3106808" y="3099150"/>
            <a:ext cx="2873234" cy="747017"/>
          </a:xfrm>
          <a:prstGeom prst="roundRect">
            <a:avLst>
              <a:gd name="adj" fmla="val 2000"/>
            </a:avLst>
          </a:prstGeom>
          <a:solidFill>
            <a:schemeClr val="bg1"/>
          </a:solidFill>
          <a:ln>
            <a:noFill/>
          </a:ln>
          <a:effectLst>
            <a:outerShdw blurRad="63500" algn="ctr" rotWithShape="0">
              <a:schemeClr val="accent5">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Risk Reduction</a:t>
            </a:r>
          </a:p>
        </p:txBody>
      </p:sp>
      <p:sp>
        <p:nvSpPr>
          <p:cNvPr id="28" name="Shape10_20240810_110651">
            <a:extLst>
              <a:ext uri="{FF2B5EF4-FFF2-40B4-BE49-F238E27FC236}">
                <a16:creationId xmlns:a16="http://schemas.microsoft.com/office/drawing/2014/main" id="{2F477836-6078-91FF-480E-D50B8400E8DD}"/>
              </a:ext>
            </a:extLst>
          </p:cNvPr>
          <p:cNvSpPr/>
          <p:nvPr/>
        </p:nvSpPr>
        <p:spPr>
          <a:xfrm>
            <a:off x="6023116" y="2278066"/>
            <a:ext cx="2873234" cy="747017"/>
          </a:xfrm>
          <a:prstGeom prst="roundRect">
            <a:avLst>
              <a:gd name="adj" fmla="val 2000"/>
            </a:avLst>
          </a:prstGeom>
          <a:solidFill>
            <a:schemeClr val="bg1"/>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Public Cloud Repatriation</a:t>
            </a:r>
          </a:p>
        </p:txBody>
      </p:sp>
      <p:sp>
        <p:nvSpPr>
          <p:cNvPr id="29" name="Shape11_20240810_110651">
            <a:extLst>
              <a:ext uri="{FF2B5EF4-FFF2-40B4-BE49-F238E27FC236}">
                <a16:creationId xmlns:a16="http://schemas.microsoft.com/office/drawing/2014/main" id="{E4502AF3-FDD0-5643-178F-36BBC03F11DC}"/>
              </a:ext>
            </a:extLst>
          </p:cNvPr>
          <p:cNvSpPr/>
          <p:nvPr/>
        </p:nvSpPr>
        <p:spPr>
          <a:xfrm>
            <a:off x="3106808" y="3920233"/>
            <a:ext cx="2873234" cy="747017"/>
          </a:xfrm>
          <a:prstGeom prst="roundRect">
            <a:avLst>
              <a:gd name="adj" fmla="val 2000"/>
            </a:avLst>
          </a:prstGeom>
          <a:solidFill>
            <a:schemeClr val="bg1"/>
          </a:solidFill>
          <a:ln>
            <a:noFill/>
          </a:ln>
          <a:effectLst>
            <a:outerShdw blurRad="63500" algn="ctr" rotWithShape="0">
              <a:schemeClr val="accent5">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548640" tIns="34290" rIns="68580" bIns="34290" numCol="1" spcCol="0" rtlCol="0" fromWordArt="0" anchor="ctr" anchorCtr="0" forceAA="0" compatLnSpc="1">
            <a:prstTxWarp prst="textNoShape">
              <a:avLst/>
            </a:prstTxWarp>
            <a:noAutofit/>
          </a:bodyPr>
          <a:lstStyle/>
          <a:p>
            <a:pPr marL="0" marR="0" lvl="0" indent="0" algn="l" defTabSz="6857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Operational Skills Gap</a:t>
            </a:r>
          </a:p>
        </p:txBody>
      </p:sp>
      <p:sp>
        <p:nvSpPr>
          <p:cNvPr id="30" name="Shape13_20240810_103846">
            <a:extLst>
              <a:ext uri="{FF2B5EF4-FFF2-40B4-BE49-F238E27FC236}">
                <a16:creationId xmlns:a16="http://schemas.microsoft.com/office/drawing/2014/main" id="{F68B6535-4EDC-B71F-5C36-C39A0C9393C8}"/>
              </a:ext>
            </a:extLst>
          </p:cNvPr>
          <p:cNvSpPr txBox="1"/>
          <p:nvPr/>
        </p:nvSpPr>
        <p:spPr>
          <a:xfrm>
            <a:off x="6023116" y="826115"/>
            <a:ext cx="2873234" cy="573958"/>
          </a:xfrm>
          <a:prstGeom prst="roundRect">
            <a:avLst>
              <a:gd name="adj" fmla="val 2480"/>
            </a:avLst>
          </a:prstGeom>
          <a:solidFill>
            <a:schemeClr val="accent2"/>
          </a:solidFill>
        </p:spPr>
        <p:txBody>
          <a:bodyPr wrap="square" lIns="548640" tIns="68580" rIns="68580" bIns="68580" rtlCol="0" anchor="ctr" anchorCtr="0">
            <a:noAutofit/>
          </a:bodyPr>
          <a:lstStyle>
            <a:defPPr>
              <a:defRPr lang="en-US"/>
            </a:defPPr>
            <a:lvl1pPr defTabSz="786345">
              <a:defRPr sz="1400" b="1">
                <a:solidFill>
                  <a:srgbClr val="FFFFFF"/>
                </a:solidFill>
                <a:latin typeface="Neue Haas Grotesk Text Pro" panose="020B0504020202020204" pitchFamily="34" charset="77"/>
              </a:defRPr>
            </a:lvl1pPr>
          </a:lstStyle>
          <a:p>
            <a:pPr marL="0" marR="0" lvl="0" indent="0" algn="l" defTabSz="78634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rPr>
              <a:t>Technical</a:t>
            </a:r>
          </a:p>
        </p:txBody>
      </p:sp>
      <p:sp>
        <p:nvSpPr>
          <p:cNvPr id="31" name="Shape14_20240810_103846">
            <a:extLst>
              <a:ext uri="{FF2B5EF4-FFF2-40B4-BE49-F238E27FC236}">
                <a16:creationId xmlns:a16="http://schemas.microsoft.com/office/drawing/2014/main" id="{5FE87C69-7FD8-A531-6D5D-6BB2E117047E}"/>
              </a:ext>
            </a:extLst>
          </p:cNvPr>
          <p:cNvSpPr txBox="1"/>
          <p:nvPr/>
        </p:nvSpPr>
        <p:spPr>
          <a:xfrm>
            <a:off x="3106808" y="826115"/>
            <a:ext cx="2873234" cy="573958"/>
          </a:xfrm>
          <a:prstGeom prst="roundRect">
            <a:avLst>
              <a:gd name="adj" fmla="val 2480"/>
            </a:avLst>
          </a:prstGeom>
          <a:solidFill>
            <a:srgbClr val="4571B6"/>
          </a:solidFill>
        </p:spPr>
        <p:txBody>
          <a:bodyPr wrap="square" lIns="548640" tIns="68580" rIns="68580" bIns="68580" rtlCol="0" anchor="ctr" anchorCtr="0">
            <a:noAutofit/>
          </a:bodyPr>
          <a:lstStyle/>
          <a:p>
            <a:pPr marL="0" marR="0" lvl="0" indent="0" algn="l" defTabSz="78634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rPr>
              <a:t>Operational</a:t>
            </a:r>
          </a:p>
        </p:txBody>
      </p:sp>
      <p:sp>
        <p:nvSpPr>
          <p:cNvPr id="32" name="Shape0_20240810_103846">
            <a:extLst>
              <a:ext uri="{FF2B5EF4-FFF2-40B4-BE49-F238E27FC236}">
                <a16:creationId xmlns:a16="http://schemas.microsoft.com/office/drawing/2014/main" id="{181F79A5-9635-3E18-0248-14E16B76A428}"/>
              </a:ext>
            </a:extLst>
          </p:cNvPr>
          <p:cNvSpPr txBox="1"/>
          <p:nvPr/>
        </p:nvSpPr>
        <p:spPr>
          <a:xfrm>
            <a:off x="190500" y="826115"/>
            <a:ext cx="2873234" cy="573958"/>
          </a:xfrm>
          <a:prstGeom prst="roundRect">
            <a:avLst>
              <a:gd name="adj" fmla="val 2480"/>
            </a:avLst>
          </a:prstGeom>
          <a:solidFill>
            <a:schemeClr val="accent2"/>
          </a:solidFill>
        </p:spPr>
        <p:txBody>
          <a:bodyPr wrap="square" lIns="548640" tIns="68580" rIns="68580" bIns="68580" rtlCol="0" anchor="ctr" anchorCtr="0">
            <a:noAutofit/>
          </a:bodyPr>
          <a:lstStyle/>
          <a:p>
            <a:pPr marL="0" marR="0" lvl="0" indent="0" algn="l" defTabSz="78634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rPr>
              <a:t>Financial</a:t>
            </a:r>
          </a:p>
        </p:txBody>
      </p:sp>
      <p:pic>
        <p:nvPicPr>
          <p:cNvPr id="33" name="Graphic 32">
            <a:extLst>
              <a:ext uri="{FF2B5EF4-FFF2-40B4-BE49-F238E27FC236}">
                <a16:creationId xmlns:a16="http://schemas.microsoft.com/office/drawing/2014/main" id="{CC15AFDB-99C1-A993-B201-1E12903E61F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6700" y="2469482"/>
            <a:ext cx="385088" cy="374906"/>
          </a:xfrm>
          <a:prstGeom prst="rect">
            <a:avLst/>
          </a:prstGeom>
        </p:spPr>
      </p:pic>
      <p:pic>
        <p:nvPicPr>
          <p:cNvPr id="34" name="Graphic 33">
            <a:extLst>
              <a:ext uri="{FF2B5EF4-FFF2-40B4-BE49-F238E27FC236}">
                <a16:creationId xmlns:a16="http://schemas.microsoft.com/office/drawing/2014/main" id="{063356BA-01B8-5F53-1CC9-6CD840F1764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83008" y="2464120"/>
            <a:ext cx="385088" cy="374906"/>
          </a:xfrm>
          <a:prstGeom prst="rect">
            <a:avLst/>
          </a:prstGeom>
        </p:spPr>
      </p:pic>
      <p:pic>
        <p:nvPicPr>
          <p:cNvPr id="35" name="Graphic 34">
            <a:extLst>
              <a:ext uri="{FF2B5EF4-FFF2-40B4-BE49-F238E27FC236}">
                <a16:creationId xmlns:a16="http://schemas.microsoft.com/office/drawing/2014/main" id="{E7C9A0F9-D793-E876-03F5-05264A0D0C4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6700" y="3295928"/>
            <a:ext cx="368564" cy="358819"/>
          </a:xfrm>
          <a:prstGeom prst="rect">
            <a:avLst/>
          </a:prstGeom>
        </p:spPr>
      </p:pic>
      <p:pic>
        <p:nvPicPr>
          <p:cNvPr id="36" name="Graphic 35">
            <a:extLst>
              <a:ext uri="{FF2B5EF4-FFF2-40B4-BE49-F238E27FC236}">
                <a16:creationId xmlns:a16="http://schemas.microsoft.com/office/drawing/2014/main" id="{5E426163-A6D0-47F9-7D1D-E12EE532FC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6700" y="1643036"/>
            <a:ext cx="385088" cy="374906"/>
          </a:xfrm>
          <a:prstGeom prst="rect">
            <a:avLst/>
          </a:prstGeom>
        </p:spPr>
      </p:pic>
      <p:pic>
        <p:nvPicPr>
          <p:cNvPr id="37" name="Graphic 36">
            <a:extLst>
              <a:ext uri="{FF2B5EF4-FFF2-40B4-BE49-F238E27FC236}">
                <a16:creationId xmlns:a16="http://schemas.microsoft.com/office/drawing/2014/main" id="{C4FB63E1-6651-9106-D378-60EBA2E8CF9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83008" y="1643036"/>
            <a:ext cx="385088" cy="374906"/>
          </a:xfrm>
          <a:prstGeom prst="rect">
            <a:avLst/>
          </a:prstGeom>
        </p:spPr>
      </p:pic>
      <p:pic>
        <p:nvPicPr>
          <p:cNvPr id="38" name="Graphic 37">
            <a:extLst>
              <a:ext uri="{FF2B5EF4-FFF2-40B4-BE49-F238E27FC236}">
                <a16:creationId xmlns:a16="http://schemas.microsoft.com/office/drawing/2014/main" id="{BF836942-A289-1D55-1994-0A28490BD39D}"/>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66700" y="4106288"/>
            <a:ext cx="385088" cy="374906"/>
          </a:xfrm>
          <a:prstGeom prst="rect">
            <a:avLst/>
          </a:prstGeom>
        </p:spPr>
      </p:pic>
      <p:pic>
        <p:nvPicPr>
          <p:cNvPr id="39" name="Graphic 38">
            <a:extLst>
              <a:ext uri="{FF2B5EF4-FFF2-40B4-BE49-F238E27FC236}">
                <a16:creationId xmlns:a16="http://schemas.microsoft.com/office/drawing/2014/main" id="{F7EB85E7-E8B8-71E0-D7B2-A9A3E3F1EA18}"/>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83008" y="3285204"/>
            <a:ext cx="385088" cy="374906"/>
          </a:xfrm>
          <a:prstGeom prst="rect">
            <a:avLst/>
          </a:prstGeom>
        </p:spPr>
      </p:pic>
      <p:pic>
        <p:nvPicPr>
          <p:cNvPr id="42" name="Graphic 41">
            <a:extLst>
              <a:ext uri="{FF2B5EF4-FFF2-40B4-BE49-F238E27FC236}">
                <a16:creationId xmlns:a16="http://schemas.microsoft.com/office/drawing/2014/main" id="{4AB547F1-EB34-43BE-74F0-FC07F2C94D1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83008" y="4106288"/>
            <a:ext cx="385088" cy="374906"/>
          </a:xfrm>
          <a:prstGeom prst="rect">
            <a:avLst/>
          </a:prstGeom>
        </p:spPr>
      </p:pic>
      <p:pic>
        <p:nvPicPr>
          <p:cNvPr id="43" name="Graphic 42">
            <a:extLst>
              <a:ext uri="{FF2B5EF4-FFF2-40B4-BE49-F238E27FC236}">
                <a16:creationId xmlns:a16="http://schemas.microsoft.com/office/drawing/2014/main" id="{5A60729E-85C6-46D4-E377-1C160187F228}"/>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114556" y="951242"/>
            <a:ext cx="332497" cy="323704"/>
          </a:xfrm>
          <a:prstGeom prst="rect">
            <a:avLst/>
          </a:prstGeom>
        </p:spPr>
      </p:pic>
      <p:pic>
        <p:nvPicPr>
          <p:cNvPr id="44" name="Graphic 43">
            <a:extLst>
              <a:ext uri="{FF2B5EF4-FFF2-40B4-BE49-F238E27FC236}">
                <a16:creationId xmlns:a16="http://schemas.microsoft.com/office/drawing/2014/main" id="{36546348-1FCA-9C7C-4786-D39CBD05FC2A}"/>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198248" y="951242"/>
            <a:ext cx="332496" cy="323704"/>
          </a:xfrm>
          <a:prstGeom prst="rect">
            <a:avLst/>
          </a:prstGeom>
        </p:spPr>
      </p:pic>
      <p:pic>
        <p:nvPicPr>
          <p:cNvPr id="45" name="Graphic 44">
            <a:extLst>
              <a:ext uri="{FF2B5EF4-FFF2-40B4-BE49-F238E27FC236}">
                <a16:creationId xmlns:a16="http://schemas.microsoft.com/office/drawing/2014/main" id="{B303C106-792F-85D1-252D-FDA40459D8C4}"/>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81940" y="951242"/>
            <a:ext cx="332495" cy="323704"/>
          </a:xfrm>
          <a:prstGeom prst="rect">
            <a:avLst/>
          </a:prstGeom>
        </p:spPr>
      </p:pic>
      <p:pic>
        <p:nvPicPr>
          <p:cNvPr id="46" name="Graphic 45">
            <a:extLst>
              <a:ext uri="{FF2B5EF4-FFF2-40B4-BE49-F238E27FC236}">
                <a16:creationId xmlns:a16="http://schemas.microsoft.com/office/drawing/2014/main" id="{E89BD24D-5795-7299-D8E0-DC2BD0C7DFDC}"/>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099316" y="3274034"/>
            <a:ext cx="408051" cy="391662"/>
          </a:xfrm>
          <a:prstGeom prst="rect">
            <a:avLst/>
          </a:prstGeom>
        </p:spPr>
      </p:pic>
      <p:pic>
        <p:nvPicPr>
          <p:cNvPr id="47" name="Graphic 46">
            <a:extLst>
              <a:ext uri="{FF2B5EF4-FFF2-40B4-BE49-F238E27FC236}">
                <a16:creationId xmlns:a16="http://schemas.microsoft.com/office/drawing/2014/main" id="{5E6D8C3E-298D-42D3-2BB7-2E84E85445EF}"/>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099316" y="4106288"/>
            <a:ext cx="385088" cy="374906"/>
          </a:xfrm>
          <a:prstGeom prst="rect">
            <a:avLst/>
          </a:prstGeom>
        </p:spPr>
      </p:pic>
      <p:pic>
        <p:nvPicPr>
          <p:cNvPr id="48" name="Graphic 47">
            <a:extLst>
              <a:ext uri="{FF2B5EF4-FFF2-40B4-BE49-F238E27FC236}">
                <a16:creationId xmlns:a16="http://schemas.microsoft.com/office/drawing/2014/main" id="{DC5BC4DD-53EE-1386-E4FA-AF16E2B8B31C}"/>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099316" y="1643036"/>
            <a:ext cx="385088" cy="374906"/>
          </a:xfrm>
          <a:prstGeom prst="rect">
            <a:avLst/>
          </a:prstGeom>
        </p:spPr>
      </p:pic>
      <p:pic>
        <p:nvPicPr>
          <p:cNvPr id="49" name="Graphic 48">
            <a:extLst>
              <a:ext uri="{FF2B5EF4-FFF2-40B4-BE49-F238E27FC236}">
                <a16:creationId xmlns:a16="http://schemas.microsoft.com/office/drawing/2014/main" id="{FF4F9EBA-3C35-C9A6-D9CC-9532BAF6F239}"/>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6099316" y="2458535"/>
            <a:ext cx="385088" cy="374906"/>
          </a:xfrm>
          <a:prstGeom prst="rect">
            <a:avLst/>
          </a:prstGeom>
        </p:spPr>
      </p:pic>
    </p:spTree>
    <p:extLst>
      <p:ext uri="{BB962C8B-B14F-4D97-AF65-F5344CB8AC3E}">
        <p14:creationId xmlns:p14="http://schemas.microsoft.com/office/powerpoint/2010/main" val="41816623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4A40E-3C0E-8696-EDCD-B5C3BB15DB35}"/>
              </a:ext>
            </a:extLst>
          </p:cNvPr>
          <p:cNvSpPr>
            <a:spLocks noGrp="1"/>
          </p:cNvSpPr>
          <p:nvPr>
            <p:ph type="title"/>
          </p:nvPr>
        </p:nvSpPr>
        <p:spPr/>
        <p:txBody>
          <a:bodyPr/>
          <a:lstStyle/>
          <a:p>
            <a:r>
              <a:rPr lang="en-US">
                <a:latin typeface="Neue Haas Grotesk Text Pro" panose="020B0504020202020204" pitchFamily="34" charset="0"/>
              </a:rPr>
              <a:t>TCO Improvement Summary</a:t>
            </a:r>
            <a:endParaRPr lang="en-US"/>
          </a:p>
        </p:txBody>
      </p:sp>
      <p:sp>
        <p:nvSpPr>
          <p:cNvPr id="3" name="Rectangle: Rounded Corners 19">
            <a:extLst>
              <a:ext uri="{FF2B5EF4-FFF2-40B4-BE49-F238E27FC236}">
                <a16:creationId xmlns:a16="http://schemas.microsoft.com/office/drawing/2014/main" id="{8D36D133-EC68-0933-1D6B-345767E3AFF4}"/>
              </a:ext>
            </a:extLst>
          </p:cNvPr>
          <p:cNvSpPr/>
          <p:nvPr/>
        </p:nvSpPr>
        <p:spPr>
          <a:xfrm>
            <a:off x="498106" y="822612"/>
            <a:ext cx="1932189" cy="3892550"/>
          </a:xfrm>
          <a:prstGeom prst="roundRect">
            <a:avLst>
              <a:gd name="adj" fmla="val 850"/>
            </a:avLst>
          </a:prstGeom>
          <a:solidFill>
            <a:schemeClr val="accent2"/>
          </a:solidFill>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4" name="Title 7">
            <a:extLst>
              <a:ext uri="{FF2B5EF4-FFF2-40B4-BE49-F238E27FC236}">
                <a16:creationId xmlns:a16="http://schemas.microsoft.com/office/drawing/2014/main" id="{7018F1D3-3A4C-889A-8250-EC684895AA8F}"/>
              </a:ext>
            </a:extLst>
          </p:cNvPr>
          <p:cNvSpPr txBox="1">
            <a:spLocks/>
          </p:cNvSpPr>
          <p:nvPr/>
        </p:nvSpPr>
        <p:spPr>
          <a:xfrm>
            <a:off x="837427" y="2162859"/>
            <a:ext cx="1253548" cy="1231106"/>
          </a:xfrm>
          <a:prstGeom prst="rect">
            <a:avLst/>
          </a:prstGeom>
        </p:spPr>
        <p:txBody>
          <a:bodyPr vert="horz" wrap="none" lIns="0" tIns="0" rIns="0" bIns="0" rtlCol="0" anchor="ctr">
            <a:spAutoFit/>
          </a:bodyPr>
          <a:lstStyle>
            <a:lvl1pPr algn="l" defTabSz="914400" rtl="0" eaLnBrk="1" latinLnBrk="0" hangingPunct="1">
              <a:lnSpc>
                <a:spcPct val="85000"/>
              </a:lnSpc>
              <a:spcBef>
                <a:spcPct val="0"/>
              </a:spcBef>
              <a:buNone/>
              <a:defRPr lang="en-US" sz="2200" b="1" i="0" kern="1200" cap="none" dirty="0" smtClean="0">
                <a:solidFill>
                  <a:schemeClr val="tx2"/>
                </a:solidFill>
                <a:latin typeface="Neue Haas Grotesk Text Pro" panose="020B0504020202020204" pitchFamily="34" charset="77"/>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Neue Haas Grotesk Text Pro" panose="020B0504020202020204" pitchFamily="34" charset="0"/>
                <a:ea typeface="+mj-ea"/>
                <a:cs typeface="+mj-cs"/>
                <a:sym typeface="Arial"/>
              </a:rPr>
              <a:t>Significant</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Neue Haas Grotesk Text Pro" panose="020B0504020202020204" pitchFamily="34" charset="0"/>
                <a:ea typeface="+mj-ea"/>
                <a:cs typeface="+mj-cs"/>
                <a:sym typeface="Arial"/>
              </a:rPr>
              <a:t>TCO</a:t>
            </a:r>
            <a:br>
              <a:rPr kumimoji="0" lang="en-GB" sz="2800" b="1" i="0" u="none" strike="noStrike" kern="1200" cap="none" spc="0" normalizeH="0" baseline="0" noProof="0">
                <a:ln>
                  <a:noFill/>
                </a:ln>
                <a:solidFill>
                  <a:srgbClr val="FFFFFF"/>
                </a:solidFill>
                <a:effectLst/>
                <a:uLnTx/>
                <a:uFillTx/>
                <a:latin typeface="Neue Haas Grotesk Text Pro" panose="020B0504020202020204" pitchFamily="34" charset="0"/>
                <a:ea typeface="+mj-ea"/>
                <a:cs typeface="+mj-cs"/>
                <a:sym typeface="Arial"/>
              </a:rPr>
            </a:br>
            <a:r>
              <a:rPr kumimoji="0" lang="en-GB" sz="2000" b="0" i="0" u="none" strike="noStrike" kern="1200" cap="none" spc="0" normalizeH="0" baseline="0" noProof="0">
                <a:ln>
                  <a:noFill/>
                </a:ln>
                <a:solidFill>
                  <a:srgbClr val="FFFFFF"/>
                </a:solidFill>
                <a:effectLst/>
                <a:uLnTx/>
                <a:uFillTx/>
                <a:latin typeface="Neue Haas Grotesk Text Pro" panose="020B0504020202020204" pitchFamily="34" charset="0"/>
                <a:ea typeface="+mj-ea"/>
                <a:cs typeface="+mj-cs"/>
              </a:rPr>
              <a:t>Savings</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Neue Haas Grotesk Text Pro" panose="020B0504020202020204" pitchFamily="34" charset="0"/>
              <a:ea typeface="+mj-ea"/>
              <a:cs typeface="+mj-cs"/>
              <a:sym typeface="Arial"/>
            </a:endParaRPr>
          </a:p>
        </p:txBody>
      </p:sp>
      <p:sp>
        <p:nvSpPr>
          <p:cNvPr id="5" name="object 11">
            <a:extLst>
              <a:ext uri="{FF2B5EF4-FFF2-40B4-BE49-F238E27FC236}">
                <a16:creationId xmlns:a16="http://schemas.microsoft.com/office/drawing/2014/main" id="{A7EA0C08-15CA-0EE4-C95D-F2CCCC89E844}"/>
              </a:ext>
            </a:extLst>
          </p:cNvPr>
          <p:cNvSpPr/>
          <p:nvPr/>
        </p:nvSpPr>
        <p:spPr>
          <a:xfrm>
            <a:off x="3118905" y="812800"/>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6" name="object 13">
            <a:extLst>
              <a:ext uri="{FF2B5EF4-FFF2-40B4-BE49-F238E27FC236}">
                <a16:creationId xmlns:a16="http://schemas.microsoft.com/office/drawing/2014/main" id="{05964D64-263C-C448-4803-42B9D49080FB}"/>
              </a:ext>
            </a:extLst>
          </p:cNvPr>
          <p:cNvSpPr/>
          <p:nvPr/>
        </p:nvSpPr>
        <p:spPr>
          <a:xfrm>
            <a:off x="6250050" y="812800"/>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7" name="Shape3_20240717_112730">
            <a:extLst>
              <a:ext uri="{FF2B5EF4-FFF2-40B4-BE49-F238E27FC236}">
                <a16:creationId xmlns:a16="http://schemas.microsoft.com/office/drawing/2014/main" id="{099C2E4A-F4DD-4579-BB76-B7AEE607CAB2}"/>
              </a:ext>
            </a:extLst>
          </p:cNvPr>
          <p:cNvSpPr txBox="1">
            <a:spLocks/>
          </p:cNvSpPr>
          <p:nvPr/>
        </p:nvSpPr>
        <p:spPr>
          <a:xfrm>
            <a:off x="6362160" y="1318987"/>
            <a:ext cx="1884432" cy="652582"/>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32% </a:t>
            </a:r>
            <a:br>
              <a:rPr kumimoji="0" lang="en-US" sz="1200" b="0" i="0" u="none" strike="noStrike" kern="1200" cap="none" spc="0" normalizeH="0" baseline="0" noProof="0">
                <a:ln>
                  <a:noFill/>
                </a:ln>
                <a:solidFill>
                  <a:srgbClr val="0D003F"/>
                </a:solidFill>
                <a:effectLst/>
                <a:uLnTx/>
                <a:uFillTx/>
                <a:latin typeface="Neue Haas Grotesk Text Pro" panose="020B0504020202020204" pitchFamily="34" charset="0"/>
                <a:ea typeface="+mn-ea"/>
                <a:cs typeface="+mn-cs"/>
                <a:sym typeface="Arial"/>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Reduction Cost per </a:t>
            </a:r>
            <a:b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GB data</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8" name="Shape4_20240717_112730">
            <a:extLst>
              <a:ext uri="{FF2B5EF4-FFF2-40B4-BE49-F238E27FC236}">
                <a16:creationId xmlns:a16="http://schemas.microsoft.com/office/drawing/2014/main" id="{E631FF82-186B-1B9A-348C-7971448FEA34}"/>
              </a:ext>
            </a:extLst>
          </p:cNvPr>
          <p:cNvSpPr txBox="1">
            <a:spLocks/>
          </p:cNvSpPr>
          <p:nvPr/>
        </p:nvSpPr>
        <p:spPr>
          <a:xfrm>
            <a:off x="3265087" y="1418887"/>
            <a:ext cx="1816288" cy="466130"/>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43%</a:t>
            </a:r>
            <a:br>
              <a:rPr kumimoji="0" lang="en-US" sz="1200" b="1" i="0" u="none" strike="noStrike" kern="1200" cap="none" spc="0" normalizeH="0" baseline="0" noProof="0">
                <a:ln>
                  <a:noFill/>
                </a:ln>
                <a:solidFill>
                  <a:srgbClr val="345588"/>
                </a:solidFill>
                <a:effectLst/>
                <a:uLnTx/>
                <a:uFillTx/>
                <a:latin typeface="Neue Haas Grotesk Text Pro" panose="020B0504020202020204" pitchFamily="34" charset="0"/>
                <a:ea typeface="+mn-ea"/>
                <a:cs typeface="+mn-cs"/>
                <a:sym typeface="Arial"/>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Reduction of servers</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9" name="Rectangle 8">
            <a:extLst>
              <a:ext uri="{FF2B5EF4-FFF2-40B4-BE49-F238E27FC236}">
                <a16:creationId xmlns:a16="http://schemas.microsoft.com/office/drawing/2014/main" id="{0D4B96A8-30BA-1268-E786-20B9F2372647}"/>
              </a:ext>
            </a:extLst>
          </p:cNvPr>
          <p:cNvSpPr/>
          <p:nvPr/>
        </p:nvSpPr>
        <p:spPr>
          <a:xfrm>
            <a:off x="3118905" y="812799"/>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0" name="Rectangle 9">
            <a:extLst>
              <a:ext uri="{FF2B5EF4-FFF2-40B4-BE49-F238E27FC236}">
                <a16:creationId xmlns:a16="http://schemas.microsoft.com/office/drawing/2014/main" id="{F0F36408-2578-47B0-6026-81FFB7DAA50A}"/>
              </a:ext>
            </a:extLst>
          </p:cNvPr>
          <p:cNvSpPr/>
          <p:nvPr/>
        </p:nvSpPr>
        <p:spPr>
          <a:xfrm>
            <a:off x="6250050" y="812799"/>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1" name="object 11">
            <a:extLst>
              <a:ext uri="{FF2B5EF4-FFF2-40B4-BE49-F238E27FC236}">
                <a16:creationId xmlns:a16="http://schemas.microsoft.com/office/drawing/2014/main" id="{0708ADDF-09BC-42F1-836D-B6D8CD52A19C}"/>
              </a:ext>
            </a:extLst>
          </p:cNvPr>
          <p:cNvSpPr/>
          <p:nvPr/>
        </p:nvSpPr>
        <p:spPr>
          <a:xfrm>
            <a:off x="3118905" y="2165896"/>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2" name="object 13">
            <a:extLst>
              <a:ext uri="{FF2B5EF4-FFF2-40B4-BE49-F238E27FC236}">
                <a16:creationId xmlns:a16="http://schemas.microsoft.com/office/drawing/2014/main" id="{FDE88644-07E4-EBC1-A6C7-AA5608FA45F5}"/>
              </a:ext>
            </a:extLst>
          </p:cNvPr>
          <p:cNvSpPr/>
          <p:nvPr/>
        </p:nvSpPr>
        <p:spPr>
          <a:xfrm>
            <a:off x="6250050" y="2165896"/>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3" name="Shape3_20240717_112730">
            <a:extLst>
              <a:ext uri="{FF2B5EF4-FFF2-40B4-BE49-F238E27FC236}">
                <a16:creationId xmlns:a16="http://schemas.microsoft.com/office/drawing/2014/main" id="{D96F783E-4314-18FB-C492-9A34C687E778}"/>
              </a:ext>
            </a:extLst>
          </p:cNvPr>
          <p:cNvSpPr txBox="1">
            <a:spLocks/>
          </p:cNvSpPr>
          <p:nvPr/>
        </p:nvSpPr>
        <p:spPr>
          <a:xfrm>
            <a:off x="6362160" y="2672083"/>
            <a:ext cx="1884432" cy="678478"/>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40% </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Potential Reduction in Storage Capacity</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4" name="Shape4_20240717_112730">
            <a:extLst>
              <a:ext uri="{FF2B5EF4-FFF2-40B4-BE49-F238E27FC236}">
                <a16:creationId xmlns:a16="http://schemas.microsoft.com/office/drawing/2014/main" id="{527D9446-A682-F32D-57B8-F77DC2AD5B74}"/>
              </a:ext>
            </a:extLst>
          </p:cNvPr>
          <p:cNvSpPr txBox="1">
            <a:spLocks/>
          </p:cNvSpPr>
          <p:nvPr/>
        </p:nvSpPr>
        <p:spPr>
          <a:xfrm>
            <a:off x="3265087" y="2678202"/>
            <a:ext cx="1816288" cy="678478"/>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30% </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Cost Avoidance in Software licensing</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5" name="Rectangle 14">
            <a:extLst>
              <a:ext uri="{FF2B5EF4-FFF2-40B4-BE49-F238E27FC236}">
                <a16:creationId xmlns:a16="http://schemas.microsoft.com/office/drawing/2014/main" id="{C3F3BDA3-3C28-050E-950F-52E32C4F88FF}"/>
              </a:ext>
            </a:extLst>
          </p:cNvPr>
          <p:cNvSpPr/>
          <p:nvPr/>
        </p:nvSpPr>
        <p:spPr>
          <a:xfrm>
            <a:off x="3118905" y="2165895"/>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6" name="Rectangle 15">
            <a:extLst>
              <a:ext uri="{FF2B5EF4-FFF2-40B4-BE49-F238E27FC236}">
                <a16:creationId xmlns:a16="http://schemas.microsoft.com/office/drawing/2014/main" id="{E9BBF700-576B-27B7-5106-29BB4615887E}"/>
              </a:ext>
            </a:extLst>
          </p:cNvPr>
          <p:cNvSpPr/>
          <p:nvPr/>
        </p:nvSpPr>
        <p:spPr>
          <a:xfrm>
            <a:off x="6250050" y="2165895"/>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7" name="object 11">
            <a:extLst>
              <a:ext uri="{FF2B5EF4-FFF2-40B4-BE49-F238E27FC236}">
                <a16:creationId xmlns:a16="http://schemas.microsoft.com/office/drawing/2014/main" id="{3801C19D-CB45-3899-DC83-AD54558FCCB1}"/>
              </a:ext>
            </a:extLst>
          </p:cNvPr>
          <p:cNvSpPr/>
          <p:nvPr/>
        </p:nvSpPr>
        <p:spPr>
          <a:xfrm>
            <a:off x="3118905" y="3518991"/>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8" name="object 13">
            <a:extLst>
              <a:ext uri="{FF2B5EF4-FFF2-40B4-BE49-F238E27FC236}">
                <a16:creationId xmlns:a16="http://schemas.microsoft.com/office/drawing/2014/main" id="{C2821829-7B4D-3282-A937-AD9100C9EA6A}"/>
              </a:ext>
            </a:extLst>
          </p:cNvPr>
          <p:cNvSpPr/>
          <p:nvPr/>
        </p:nvSpPr>
        <p:spPr>
          <a:xfrm>
            <a:off x="6250050" y="3518991"/>
            <a:ext cx="2108653" cy="118635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9" name="Rectangle 18">
            <a:extLst>
              <a:ext uri="{FF2B5EF4-FFF2-40B4-BE49-F238E27FC236}">
                <a16:creationId xmlns:a16="http://schemas.microsoft.com/office/drawing/2014/main" id="{CB91DA6E-D7FE-0EFF-3F50-25CCFE9147FB}"/>
              </a:ext>
            </a:extLst>
          </p:cNvPr>
          <p:cNvSpPr/>
          <p:nvPr/>
        </p:nvSpPr>
        <p:spPr>
          <a:xfrm>
            <a:off x="3118905" y="3518990"/>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0" name="Rectangle 19">
            <a:extLst>
              <a:ext uri="{FF2B5EF4-FFF2-40B4-BE49-F238E27FC236}">
                <a16:creationId xmlns:a16="http://schemas.microsoft.com/office/drawing/2014/main" id="{C2E75536-29BB-EB6F-45A5-F5CC79899965}"/>
              </a:ext>
            </a:extLst>
          </p:cNvPr>
          <p:cNvSpPr/>
          <p:nvPr/>
        </p:nvSpPr>
        <p:spPr>
          <a:xfrm>
            <a:off x="6250050" y="3518990"/>
            <a:ext cx="2108653" cy="7191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1" name="Flowchart: Delay 48">
            <a:extLst>
              <a:ext uri="{FF2B5EF4-FFF2-40B4-BE49-F238E27FC236}">
                <a16:creationId xmlns:a16="http://schemas.microsoft.com/office/drawing/2014/main" id="{A4730019-F1AA-10E2-7E33-21FBE6F0C0FE}"/>
              </a:ext>
            </a:extLst>
          </p:cNvPr>
          <p:cNvSpPr/>
          <p:nvPr/>
        </p:nvSpPr>
        <p:spPr>
          <a:xfrm rot="5400000">
            <a:off x="3920071" y="812800"/>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2" name="Flowchart: Delay 49">
            <a:extLst>
              <a:ext uri="{FF2B5EF4-FFF2-40B4-BE49-F238E27FC236}">
                <a16:creationId xmlns:a16="http://schemas.microsoft.com/office/drawing/2014/main" id="{D3149C5C-E91C-3D64-09D0-676414B275E6}"/>
              </a:ext>
            </a:extLst>
          </p:cNvPr>
          <p:cNvSpPr/>
          <p:nvPr/>
        </p:nvSpPr>
        <p:spPr>
          <a:xfrm rot="5400000">
            <a:off x="7051216" y="812800"/>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3" name="Flowchart: Delay 53">
            <a:extLst>
              <a:ext uri="{FF2B5EF4-FFF2-40B4-BE49-F238E27FC236}">
                <a16:creationId xmlns:a16="http://schemas.microsoft.com/office/drawing/2014/main" id="{16CC14FF-3CC1-807C-10DD-0EB19B7E7A12}"/>
              </a:ext>
            </a:extLst>
          </p:cNvPr>
          <p:cNvSpPr/>
          <p:nvPr/>
        </p:nvSpPr>
        <p:spPr>
          <a:xfrm rot="5400000">
            <a:off x="3920071" y="2165895"/>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4" name="Flowchart: Delay 56">
            <a:extLst>
              <a:ext uri="{FF2B5EF4-FFF2-40B4-BE49-F238E27FC236}">
                <a16:creationId xmlns:a16="http://schemas.microsoft.com/office/drawing/2014/main" id="{3B64CB86-B438-225D-826D-462F1F0FB6C0}"/>
              </a:ext>
            </a:extLst>
          </p:cNvPr>
          <p:cNvSpPr/>
          <p:nvPr/>
        </p:nvSpPr>
        <p:spPr>
          <a:xfrm rot="5400000">
            <a:off x="7051216" y="2165895"/>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5" name="Flowchart: Delay 58">
            <a:extLst>
              <a:ext uri="{FF2B5EF4-FFF2-40B4-BE49-F238E27FC236}">
                <a16:creationId xmlns:a16="http://schemas.microsoft.com/office/drawing/2014/main" id="{F20F6657-E8FE-7259-9CD1-0F545C885E77}"/>
              </a:ext>
            </a:extLst>
          </p:cNvPr>
          <p:cNvSpPr/>
          <p:nvPr/>
        </p:nvSpPr>
        <p:spPr>
          <a:xfrm rot="5400000">
            <a:off x="3920071" y="3518991"/>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6" name="Flowchart: Delay 59">
            <a:extLst>
              <a:ext uri="{FF2B5EF4-FFF2-40B4-BE49-F238E27FC236}">
                <a16:creationId xmlns:a16="http://schemas.microsoft.com/office/drawing/2014/main" id="{342F4A50-3F7A-7418-7C2A-C90950678FB4}"/>
              </a:ext>
            </a:extLst>
          </p:cNvPr>
          <p:cNvSpPr/>
          <p:nvPr/>
        </p:nvSpPr>
        <p:spPr>
          <a:xfrm rot="5400000">
            <a:off x="7051216" y="3518991"/>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pic>
        <p:nvPicPr>
          <p:cNvPr id="27" name="Shape6_20240810_052523">
            <a:extLst>
              <a:ext uri="{FF2B5EF4-FFF2-40B4-BE49-F238E27FC236}">
                <a16:creationId xmlns:a16="http://schemas.microsoft.com/office/drawing/2014/main" id="{263C40E2-3C8B-C1A7-512D-83D23B9263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60234" y="3628009"/>
            <a:ext cx="288284" cy="288284"/>
          </a:xfrm>
          <a:prstGeom prst="rect">
            <a:avLst/>
          </a:prstGeom>
        </p:spPr>
      </p:pic>
      <p:pic>
        <p:nvPicPr>
          <p:cNvPr id="28" name="Shape3_20240810_052523">
            <a:extLst>
              <a:ext uri="{FF2B5EF4-FFF2-40B4-BE49-F238E27FC236}">
                <a16:creationId xmlns:a16="http://schemas.microsoft.com/office/drawing/2014/main" id="{1F5E7ED1-76B7-6CCB-DEAB-2C5A377E81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29089" y="3628010"/>
            <a:ext cx="288284" cy="288284"/>
          </a:xfrm>
          <a:prstGeom prst="rect">
            <a:avLst/>
          </a:prstGeom>
        </p:spPr>
      </p:pic>
      <p:pic>
        <p:nvPicPr>
          <p:cNvPr id="29" name="Shape1_20240810_052523">
            <a:extLst>
              <a:ext uri="{FF2B5EF4-FFF2-40B4-BE49-F238E27FC236}">
                <a16:creationId xmlns:a16="http://schemas.microsoft.com/office/drawing/2014/main" id="{AFB3E54E-D26D-B710-E8AC-BD903A1FE6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29089" y="921818"/>
            <a:ext cx="288284" cy="288284"/>
          </a:xfrm>
          <a:prstGeom prst="rect">
            <a:avLst/>
          </a:prstGeom>
        </p:spPr>
      </p:pic>
      <p:pic>
        <p:nvPicPr>
          <p:cNvPr id="30" name="Shape2_20240810_052523">
            <a:extLst>
              <a:ext uri="{FF2B5EF4-FFF2-40B4-BE49-F238E27FC236}">
                <a16:creationId xmlns:a16="http://schemas.microsoft.com/office/drawing/2014/main" id="{CE82EF63-DCDC-4EFA-1BA4-84864453CF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29089" y="2274913"/>
            <a:ext cx="288284" cy="288284"/>
          </a:xfrm>
          <a:prstGeom prst="rect">
            <a:avLst/>
          </a:prstGeom>
        </p:spPr>
      </p:pic>
      <p:pic>
        <p:nvPicPr>
          <p:cNvPr id="31" name="Shape4_20240810_052523">
            <a:extLst>
              <a:ext uri="{FF2B5EF4-FFF2-40B4-BE49-F238E27FC236}">
                <a16:creationId xmlns:a16="http://schemas.microsoft.com/office/drawing/2014/main" id="{79AFCB1E-6803-F94D-7527-C60C11E83F2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60234" y="921818"/>
            <a:ext cx="288284" cy="288284"/>
          </a:xfrm>
          <a:prstGeom prst="rect">
            <a:avLst/>
          </a:prstGeom>
        </p:spPr>
      </p:pic>
      <p:pic>
        <p:nvPicPr>
          <p:cNvPr id="32" name="Shape5_20240810_052523">
            <a:extLst>
              <a:ext uri="{FF2B5EF4-FFF2-40B4-BE49-F238E27FC236}">
                <a16:creationId xmlns:a16="http://schemas.microsoft.com/office/drawing/2014/main" id="{9A43301C-2A04-B8A6-5D10-439199E832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60234" y="2274913"/>
            <a:ext cx="288284" cy="288284"/>
          </a:xfrm>
          <a:prstGeom prst="rect">
            <a:avLst/>
          </a:prstGeom>
        </p:spPr>
      </p:pic>
      <p:sp>
        <p:nvSpPr>
          <p:cNvPr id="33" name="Shape3_20240717_112730">
            <a:extLst>
              <a:ext uri="{FF2B5EF4-FFF2-40B4-BE49-F238E27FC236}">
                <a16:creationId xmlns:a16="http://schemas.microsoft.com/office/drawing/2014/main" id="{3867890F-CC57-0E0B-ED7F-D9AE8047E2D4}"/>
              </a:ext>
            </a:extLst>
          </p:cNvPr>
          <p:cNvSpPr txBox="1">
            <a:spLocks/>
          </p:cNvSpPr>
          <p:nvPr/>
        </p:nvSpPr>
        <p:spPr>
          <a:xfrm>
            <a:off x="6362160" y="4025178"/>
            <a:ext cx="1884432" cy="704374"/>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50% </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Fewer network </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switches required</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34" name="Shape4_20240717_112730">
            <a:extLst>
              <a:ext uri="{FF2B5EF4-FFF2-40B4-BE49-F238E27FC236}">
                <a16:creationId xmlns:a16="http://schemas.microsoft.com/office/drawing/2014/main" id="{29157911-C589-8326-BF42-2BFB4F1C3E73}"/>
              </a:ext>
            </a:extLst>
          </p:cNvPr>
          <p:cNvSpPr txBox="1">
            <a:spLocks/>
          </p:cNvSpPr>
          <p:nvPr/>
        </p:nvSpPr>
        <p:spPr>
          <a:xfrm>
            <a:off x="3237145" y="4025178"/>
            <a:ext cx="1816288" cy="704374"/>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8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sym typeface="Arial"/>
              </a:rPr>
              <a:t>~$36%</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Reduction in </a:t>
            </a:r>
          </a:p>
          <a:p>
            <a:pPr marL="0" marR="0" lvl="0" indent="0" algn="l"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sym typeface="Arial"/>
              </a:rPr>
              <a:t>Operational Labor</a:t>
            </a:r>
            <a:endParaRPr kumimoji="0" lang="en-GB"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Tree>
    <p:extLst>
      <p:ext uri="{BB962C8B-B14F-4D97-AF65-F5344CB8AC3E}">
        <p14:creationId xmlns:p14="http://schemas.microsoft.com/office/powerpoint/2010/main" val="13786633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0751A6E8-46CB-6FEE-E08F-75CFCA159995}"/>
              </a:ext>
            </a:extLst>
          </p:cNvPr>
          <p:cNvSpPr>
            <a:spLocks noGrp="1"/>
          </p:cNvSpPr>
          <p:nvPr>
            <p:ph type="title"/>
          </p:nvPr>
        </p:nvSpPr>
        <p:spPr>
          <a:xfrm>
            <a:off x="202687" y="53113"/>
            <a:ext cx="8737013" cy="732441"/>
          </a:xfrm>
        </p:spPr>
        <p:txBody>
          <a:bodyPr vert="horz" wrap="square" lIns="0" tIns="0" rIns="0" bIns="0"/>
          <a:lstStyle/>
          <a:p>
            <a:r>
              <a:rPr lang="en-US"/>
              <a:t>Positive Analyst Feedback</a:t>
            </a:r>
          </a:p>
        </p:txBody>
      </p:sp>
      <p:sp>
        <p:nvSpPr>
          <p:cNvPr id="38" name="object 11">
            <a:extLst>
              <a:ext uri="{FF2B5EF4-FFF2-40B4-BE49-F238E27FC236}">
                <a16:creationId xmlns:a16="http://schemas.microsoft.com/office/drawing/2014/main" id="{41D60804-F967-C0C6-4440-ED9B378CB8E6}"/>
              </a:ext>
            </a:extLst>
          </p:cNvPr>
          <p:cNvSpPr/>
          <p:nvPr/>
        </p:nvSpPr>
        <p:spPr>
          <a:xfrm>
            <a:off x="3776893" y="812800"/>
            <a:ext cx="5127829" cy="3590950"/>
          </a:xfrm>
          <a:prstGeom prst="round2SameRect">
            <a:avLst>
              <a:gd name="adj1" fmla="val 1386"/>
              <a:gd name="adj2" fmla="val 0"/>
            </a:avLst>
          </a:prstGeom>
          <a:solidFill>
            <a:srgbClr val="FFFFFF"/>
          </a:solidFill>
          <a:effectLst>
            <a:outerShdw blurRad="63500" sx="101000" sy="101000" algn="ctr" rotWithShape="0">
              <a:srgbClr val="345588">
                <a:alpha val="20000"/>
              </a:srgbClr>
            </a:outerShdw>
          </a:effectLst>
        </p:spPr>
        <p:txBody>
          <a:bodyPr wrap="square" lIns="45720" tIns="91440" rIns="45720" bIns="45720" rtlCol="0" anchor="t"/>
          <a:lstStyle/>
          <a:p>
            <a:pPr>
              <a:spcAft>
                <a:spcPts val="800"/>
              </a:spcAft>
            </a:pPr>
            <a:endParaRPr lang="en-US" sz="1200" b="1">
              <a:solidFill>
                <a:schemeClr val="accent5"/>
              </a:solidFill>
              <a:latin typeface="Neue Haas Grotesk Text Pro" panose="020B0504020202020204" pitchFamily="34" charset="0"/>
            </a:endParaRPr>
          </a:p>
        </p:txBody>
      </p:sp>
      <p:sp>
        <p:nvSpPr>
          <p:cNvPr id="39" name="object 11">
            <a:extLst>
              <a:ext uri="{FF2B5EF4-FFF2-40B4-BE49-F238E27FC236}">
                <a16:creationId xmlns:a16="http://schemas.microsoft.com/office/drawing/2014/main" id="{F0F99D5B-D05C-F8D6-8F24-1F79C20287DD}"/>
              </a:ext>
            </a:extLst>
          </p:cNvPr>
          <p:cNvSpPr/>
          <p:nvPr/>
        </p:nvSpPr>
        <p:spPr>
          <a:xfrm>
            <a:off x="202688" y="812800"/>
            <a:ext cx="3454912" cy="3590950"/>
          </a:xfrm>
          <a:prstGeom prst="round2SameRect">
            <a:avLst>
              <a:gd name="adj1" fmla="val 1386"/>
              <a:gd name="adj2" fmla="val 0"/>
            </a:avLst>
          </a:prstGeom>
          <a:noFill/>
          <a:effectLst>
            <a:outerShdw blurRad="63500" sx="101000" sy="101000" algn="ctr" rotWithShape="0">
              <a:srgbClr val="345588">
                <a:alpha val="20000"/>
              </a:srgbClr>
            </a:outerShdw>
          </a:effectLst>
        </p:spPr>
        <p:txBody>
          <a:bodyPr wrap="square" lIns="45720" tIns="91440" rIns="45720" bIns="45720" rtlCol="0" anchor="ctr"/>
          <a:lstStyle/>
          <a:p>
            <a:pPr>
              <a:spcAft>
                <a:spcPts val="800"/>
              </a:spcAft>
            </a:pPr>
            <a:r>
              <a:rPr lang="en-US" sz="1400">
                <a:latin typeface="Neue Haas Grotesk Text Pro" panose="020B0504020202020204" pitchFamily="34" charset="0"/>
              </a:rPr>
              <a:t>“</a:t>
            </a:r>
            <a:r>
              <a:rPr lang="en-US" sz="1200">
                <a:latin typeface="Neue Haas Grotesk Text Pro" panose="020B0504020202020204" pitchFamily="34" charset="0"/>
              </a:rPr>
              <a:t>Pairing two major industry players, the new Hitachi EverFlex with Cisco Hybrid Powered Cloud has the potential </a:t>
            </a:r>
            <a:r>
              <a:rPr lang="en-US" sz="1200" b="1">
                <a:solidFill>
                  <a:schemeClr val="accent2"/>
                </a:solidFill>
                <a:latin typeface="Neue Haas Grotesk Text Pro" panose="020B0504020202020204" pitchFamily="34" charset="0"/>
              </a:rPr>
              <a:t>to shake up the growing market for dedicated infrastructure offered as-a-service</a:t>
            </a:r>
            <a:r>
              <a:rPr lang="en-US" sz="1200">
                <a:latin typeface="Neue Haas Grotesk Text Pro" panose="020B0504020202020204" pitchFamily="34" charset="0"/>
              </a:rPr>
              <a:t>, and with operationally friendly consumption options” - </a:t>
            </a:r>
            <a:r>
              <a:rPr lang="en-US" sz="1200" b="1">
                <a:solidFill>
                  <a:schemeClr val="accent2"/>
                </a:solidFill>
                <a:latin typeface="Neue Haas Grotesk Text Pro" panose="020B0504020202020204" pitchFamily="34" charset="0"/>
              </a:rPr>
              <a:t>IDC</a:t>
            </a:r>
          </a:p>
          <a:p>
            <a:pPr>
              <a:spcAft>
                <a:spcPts val="800"/>
              </a:spcAft>
            </a:pPr>
            <a:r>
              <a:rPr lang="en-US" sz="1200">
                <a:latin typeface="Neue Haas Grotesk Text Pro" panose="020B0504020202020204" pitchFamily="34" charset="0"/>
              </a:rPr>
              <a:t>“Everyone charged into the cloud at the height of the pandemic because it seemed the only way to keep the lights on. Now, there are cloud management and cost headaches everywhere you look. The combination of Hitachi and Cisco is beneficial to customers</a:t>
            </a:r>
            <a:r>
              <a:rPr lang="en-US" sz="1200">
                <a:solidFill>
                  <a:schemeClr val="accent2"/>
                </a:solidFill>
                <a:latin typeface="Neue Haas Grotesk Text Pro" panose="020B0504020202020204" pitchFamily="34" charset="0"/>
              </a:rPr>
              <a:t>. </a:t>
            </a:r>
            <a:r>
              <a:rPr lang="en-US" sz="1200" b="1">
                <a:solidFill>
                  <a:schemeClr val="accent2"/>
                </a:solidFill>
                <a:latin typeface="Neue Haas Grotesk Text Pro" panose="020B0504020202020204" pitchFamily="34" charset="0"/>
              </a:rPr>
              <a:t>Cisco certainly brings infrastructure to the table, and Hitachi has the managed services chops that will be critical for companies looking to expand or simply maintain their cloud presence.” - ZK Research</a:t>
            </a:r>
          </a:p>
        </p:txBody>
      </p:sp>
      <p:pic>
        <p:nvPicPr>
          <p:cNvPr id="40" name="Picture 39">
            <a:extLst>
              <a:ext uri="{FF2B5EF4-FFF2-40B4-BE49-F238E27FC236}">
                <a16:creationId xmlns:a16="http://schemas.microsoft.com/office/drawing/2014/main" id="{CD649CA2-0B42-76DA-D674-E69641BD038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839813" y="904240"/>
            <a:ext cx="2316480" cy="2456052"/>
          </a:xfrm>
          <a:prstGeom prst="rect">
            <a:avLst/>
          </a:prstGeom>
        </p:spPr>
      </p:pic>
      <p:sp>
        <p:nvSpPr>
          <p:cNvPr id="41" name="TextBox 40">
            <a:extLst>
              <a:ext uri="{FF2B5EF4-FFF2-40B4-BE49-F238E27FC236}">
                <a16:creationId xmlns:a16="http://schemas.microsoft.com/office/drawing/2014/main" id="{631CDC5E-3310-7989-7F0B-21E2D380B1DE}"/>
              </a:ext>
            </a:extLst>
          </p:cNvPr>
          <p:cNvSpPr txBox="1"/>
          <p:nvPr/>
        </p:nvSpPr>
        <p:spPr>
          <a:xfrm>
            <a:off x="202688" y="4432747"/>
            <a:ext cx="3827987" cy="400110"/>
          </a:xfrm>
          <a:prstGeom prst="rect">
            <a:avLst/>
          </a:prstGeom>
          <a:noFill/>
        </p:spPr>
        <p:txBody>
          <a:bodyPr wrap="square">
            <a:spAutoFit/>
          </a:bodyPr>
          <a:lstStyle/>
          <a:p>
            <a:r>
              <a:rPr lang="en-US" sz="1000">
                <a:latin typeface="Neue Haas Grotesk Text Pro" panose="020B0504020202020204" pitchFamily="34" charset="0"/>
                <a:hlinkClick r:id="rId3"/>
              </a:rPr>
              <a:t>IDC: Hitachi Vantara Expands Partnership with Cisco to Offer New Services for Converged Infrastructure in Hybrid Clouds</a:t>
            </a:r>
            <a:endParaRPr lang="en-US" sz="1000">
              <a:latin typeface="Neue Haas Grotesk Text Pro" panose="020B0504020202020204" pitchFamily="34" charset="0"/>
            </a:endParaRPr>
          </a:p>
        </p:txBody>
      </p:sp>
      <p:sp>
        <p:nvSpPr>
          <p:cNvPr id="42" name="TextBox 41">
            <a:extLst>
              <a:ext uri="{FF2B5EF4-FFF2-40B4-BE49-F238E27FC236}">
                <a16:creationId xmlns:a16="http://schemas.microsoft.com/office/drawing/2014/main" id="{0F144213-8EBA-8163-7486-0F739241E143}"/>
              </a:ext>
            </a:extLst>
          </p:cNvPr>
          <p:cNvSpPr txBox="1"/>
          <p:nvPr/>
        </p:nvSpPr>
        <p:spPr>
          <a:xfrm>
            <a:off x="4389121" y="4432747"/>
            <a:ext cx="4506718" cy="400110"/>
          </a:xfrm>
          <a:prstGeom prst="rect">
            <a:avLst/>
          </a:prstGeom>
          <a:noFill/>
        </p:spPr>
        <p:txBody>
          <a:bodyPr wrap="square" lIns="0" tIns="0" rIns="0" bIns="0" anchor="ctr">
            <a:noAutofit/>
          </a:bodyPr>
          <a:lstStyle/>
          <a:p>
            <a:r>
              <a:rPr lang="en-US" sz="1000">
                <a:latin typeface="Neue Haas Grotesk Text Pro" panose="020B0504020202020204" pitchFamily="34" charset="0"/>
              </a:rPr>
              <a:t>Constellation Research Inc: </a:t>
            </a:r>
            <a:r>
              <a:rPr lang="en-US" sz="1000">
                <a:latin typeface="Neue Haas Grotesk Text Pro" panose="020B0504020202020204" pitchFamily="34" charset="0"/>
                <a:hlinkClick r:id="rId4"/>
              </a:rPr>
              <a:t>Hitachi Vantara, Cisco launch hybrid cloud suite.</a:t>
            </a:r>
            <a:endParaRPr lang="en-US" sz="1000">
              <a:latin typeface="Neue Haas Grotesk Text Pro" panose="020B0504020202020204" pitchFamily="34" charset="0"/>
            </a:endParaRPr>
          </a:p>
        </p:txBody>
      </p:sp>
      <p:pic>
        <p:nvPicPr>
          <p:cNvPr id="43" name="Picture 42">
            <a:extLst>
              <a:ext uri="{FF2B5EF4-FFF2-40B4-BE49-F238E27FC236}">
                <a16:creationId xmlns:a16="http://schemas.microsoft.com/office/drawing/2014/main" id="{06FD116A-DB4B-4E73-ACCC-C4FA54EA02A9}"/>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222510" y="1030258"/>
            <a:ext cx="1123289" cy="358838"/>
          </a:xfrm>
          <a:custGeom>
            <a:avLst/>
            <a:gdLst>
              <a:gd name="connsiteX0" fmla="*/ 0 w 1026829"/>
              <a:gd name="connsiteY0" fmla="*/ 0 h 328022"/>
              <a:gd name="connsiteX1" fmla="*/ 1026829 w 1026829"/>
              <a:gd name="connsiteY1" fmla="*/ 0 h 328022"/>
              <a:gd name="connsiteX2" fmla="*/ 1026829 w 1026829"/>
              <a:gd name="connsiteY2" fmla="*/ 328022 h 328022"/>
              <a:gd name="connsiteX3" fmla="*/ 0 w 1026829"/>
              <a:gd name="connsiteY3" fmla="*/ 328022 h 328022"/>
              <a:gd name="connsiteX4" fmla="*/ 0 w 1026829"/>
              <a:gd name="connsiteY4" fmla="*/ 0 h 328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829" h="328022">
                <a:moveTo>
                  <a:pt x="0" y="0"/>
                </a:moveTo>
                <a:lnTo>
                  <a:pt x="1026829" y="0"/>
                </a:lnTo>
                <a:lnTo>
                  <a:pt x="1026829" y="328022"/>
                </a:lnTo>
                <a:lnTo>
                  <a:pt x="0" y="328022"/>
                </a:lnTo>
                <a:lnTo>
                  <a:pt x="0" y="0"/>
                </a:lnTo>
                <a:close/>
              </a:path>
            </a:pathLst>
          </a:custGeom>
        </p:spPr>
      </p:pic>
      <p:pic>
        <p:nvPicPr>
          <p:cNvPr id="44" name="Picture 43">
            <a:extLst>
              <a:ext uri="{FF2B5EF4-FFF2-40B4-BE49-F238E27FC236}">
                <a16:creationId xmlns:a16="http://schemas.microsoft.com/office/drawing/2014/main" id="{034E0F15-CB49-A316-8273-330C20B92A0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7847740" y="2669331"/>
            <a:ext cx="693381" cy="638030"/>
          </a:xfrm>
          <a:custGeom>
            <a:avLst/>
            <a:gdLst>
              <a:gd name="connsiteX0" fmla="*/ 0 w 854516"/>
              <a:gd name="connsiteY0" fmla="*/ 0 h 786302"/>
              <a:gd name="connsiteX1" fmla="*/ 854516 w 854516"/>
              <a:gd name="connsiteY1" fmla="*/ 0 h 786302"/>
              <a:gd name="connsiteX2" fmla="*/ 854516 w 854516"/>
              <a:gd name="connsiteY2" fmla="*/ 786302 h 786302"/>
              <a:gd name="connsiteX3" fmla="*/ 0 w 854516"/>
              <a:gd name="connsiteY3" fmla="*/ 786302 h 786302"/>
              <a:gd name="connsiteX4" fmla="*/ 0 w 854516"/>
              <a:gd name="connsiteY4" fmla="*/ 0 h 786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516" h="786302">
                <a:moveTo>
                  <a:pt x="0" y="0"/>
                </a:moveTo>
                <a:lnTo>
                  <a:pt x="854516" y="0"/>
                </a:lnTo>
                <a:lnTo>
                  <a:pt x="854516" y="786302"/>
                </a:lnTo>
                <a:lnTo>
                  <a:pt x="0" y="786302"/>
                </a:lnTo>
                <a:lnTo>
                  <a:pt x="0" y="0"/>
                </a:lnTo>
                <a:close/>
              </a:path>
            </a:pathLst>
          </a:custGeom>
        </p:spPr>
      </p:pic>
      <p:pic>
        <p:nvPicPr>
          <p:cNvPr id="45" name="Picture 44">
            <a:extLst>
              <a:ext uri="{FF2B5EF4-FFF2-40B4-BE49-F238E27FC236}">
                <a16:creationId xmlns:a16="http://schemas.microsoft.com/office/drawing/2014/main" id="{9EE7B277-9FE5-C42D-D600-947B5A6346B2}"/>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7343722" y="3589715"/>
            <a:ext cx="1394652" cy="741370"/>
          </a:xfrm>
          <a:custGeom>
            <a:avLst/>
            <a:gdLst>
              <a:gd name="connsiteX0" fmla="*/ 0 w 1394652"/>
              <a:gd name="connsiteY0" fmla="*/ 0 h 741370"/>
              <a:gd name="connsiteX1" fmla="*/ 1394652 w 1394652"/>
              <a:gd name="connsiteY1" fmla="*/ 0 h 741370"/>
              <a:gd name="connsiteX2" fmla="*/ 1394652 w 1394652"/>
              <a:gd name="connsiteY2" fmla="*/ 741370 h 741370"/>
              <a:gd name="connsiteX3" fmla="*/ 0 w 1394652"/>
              <a:gd name="connsiteY3" fmla="*/ 741370 h 741370"/>
              <a:gd name="connsiteX4" fmla="*/ 0 w 1394652"/>
              <a:gd name="connsiteY4" fmla="*/ 0 h 74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652" h="741370">
                <a:moveTo>
                  <a:pt x="0" y="0"/>
                </a:moveTo>
                <a:lnTo>
                  <a:pt x="1394652" y="0"/>
                </a:lnTo>
                <a:lnTo>
                  <a:pt x="1394652" y="741370"/>
                </a:lnTo>
                <a:lnTo>
                  <a:pt x="0" y="741370"/>
                </a:lnTo>
                <a:lnTo>
                  <a:pt x="0" y="0"/>
                </a:lnTo>
                <a:close/>
              </a:path>
            </a:pathLst>
          </a:custGeom>
        </p:spPr>
      </p:pic>
      <p:pic>
        <p:nvPicPr>
          <p:cNvPr id="46" name="Picture 45">
            <a:extLst>
              <a:ext uri="{FF2B5EF4-FFF2-40B4-BE49-F238E27FC236}">
                <a16:creationId xmlns:a16="http://schemas.microsoft.com/office/drawing/2014/main" id="{5A21C7F1-B4AD-2C08-0C26-FCF04CF9A859}"/>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6222510" y="1875983"/>
            <a:ext cx="1123289" cy="416682"/>
          </a:xfrm>
          <a:custGeom>
            <a:avLst/>
            <a:gdLst>
              <a:gd name="connsiteX0" fmla="*/ 0 w 1146903"/>
              <a:gd name="connsiteY0" fmla="*/ 0 h 425441"/>
              <a:gd name="connsiteX1" fmla="*/ 1146903 w 1146903"/>
              <a:gd name="connsiteY1" fmla="*/ 0 h 425441"/>
              <a:gd name="connsiteX2" fmla="*/ 1146903 w 1146903"/>
              <a:gd name="connsiteY2" fmla="*/ 425441 h 425441"/>
              <a:gd name="connsiteX3" fmla="*/ 0 w 1146903"/>
              <a:gd name="connsiteY3" fmla="*/ 425441 h 425441"/>
              <a:gd name="connsiteX4" fmla="*/ 0 w 1146903"/>
              <a:gd name="connsiteY4" fmla="*/ 0 h 42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6903" h="425441">
                <a:moveTo>
                  <a:pt x="0" y="0"/>
                </a:moveTo>
                <a:lnTo>
                  <a:pt x="1146903" y="0"/>
                </a:lnTo>
                <a:lnTo>
                  <a:pt x="1146903" y="425441"/>
                </a:lnTo>
                <a:lnTo>
                  <a:pt x="0" y="425441"/>
                </a:lnTo>
                <a:lnTo>
                  <a:pt x="0" y="0"/>
                </a:lnTo>
                <a:close/>
              </a:path>
            </a:pathLst>
          </a:custGeom>
        </p:spPr>
      </p:pic>
      <p:pic>
        <p:nvPicPr>
          <p:cNvPr id="47" name="Picture 46">
            <a:extLst>
              <a:ext uri="{FF2B5EF4-FFF2-40B4-BE49-F238E27FC236}">
                <a16:creationId xmlns:a16="http://schemas.microsoft.com/office/drawing/2014/main" id="{FC60BA82-C3B3-DAD0-F79B-3F6D311FBEF7}"/>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7568009" y="987936"/>
            <a:ext cx="1252843" cy="388998"/>
          </a:xfrm>
          <a:custGeom>
            <a:avLst/>
            <a:gdLst>
              <a:gd name="connsiteX0" fmla="*/ 0 w 1543993"/>
              <a:gd name="connsiteY0" fmla="*/ 0 h 479396"/>
              <a:gd name="connsiteX1" fmla="*/ 1543993 w 1543993"/>
              <a:gd name="connsiteY1" fmla="*/ 0 h 479396"/>
              <a:gd name="connsiteX2" fmla="*/ 1543993 w 1543993"/>
              <a:gd name="connsiteY2" fmla="*/ 479396 h 479396"/>
              <a:gd name="connsiteX3" fmla="*/ 0 w 1543993"/>
              <a:gd name="connsiteY3" fmla="*/ 479396 h 479396"/>
              <a:gd name="connsiteX4" fmla="*/ 0 w 1543993"/>
              <a:gd name="connsiteY4" fmla="*/ 0 h 47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993" h="479396">
                <a:moveTo>
                  <a:pt x="0" y="0"/>
                </a:moveTo>
                <a:lnTo>
                  <a:pt x="1543993" y="0"/>
                </a:lnTo>
                <a:lnTo>
                  <a:pt x="1543993" y="479396"/>
                </a:lnTo>
                <a:lnTo>
                  <a:pt x="0" y="479396"/>
                </a:lnTo>
                <a:lnTo>
                  <a:pt x="0" y="0"/>
                </a:lnTo>
                <a:close/>
              </a:path>
            </a:pathLst>
          </a:custGeom>
        </p:spPr>
      </p:pic>
      <p:pic>
        <p:nvPicPr>
          <p:cNvPr id="48" name="Picture 47">
            <a:extLst>
              <a:ext uri="{FF2B5EF4-FFF2-40B4-BE49-F238E27FC236}">
                <a16:creationId xmlns:a16="http://schemas.microsoft.com/office/drawing/2014/main" id="{51D581C6-5566-973F-7E4E-9DCB9C24AF42}"/>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7693208" y="1773587"/>
            <a:ext cx="1002445" cy="499091"/>
          </a:xfrm>
          <a:custGeom>
            <a:avLst/>
            <a:gdLst>
              <a:gd name="connsiteX0" fmla="*/ 0 w 854516"/>
              <a:gd name="connsiteY0" fmla="*/ 0 h 425441"/>
              <a:gd name="connsiteX1" fmla="*/ 854516 w 854516"/>
              <a:gd name="connsiteY1" fmla="*/ 0 h 425441"/>
              <a:gd name="connsiteX2" fmla="*/ 854516 w 854516"/>
              <a:gd name="connsiteY2" fmla="*/ 425441 h 425441"/>
              <a:gd name="connsiteX3" fmla="*/ 0 w 854516"/>
              <a:gd name="connsiteY3" fmla="*/ 425441 h 425441"/>
              <a:gd name="connsiteX4" fmla="*/ 0 w 854516"/>
              <a:gd name="connsiteY4" fmla="*/ 0 h 42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516" h="425441">
                <a:moveTo>
                  <a:pt x="0" y="0"/>
                </a:moveTo>
                <a:lnTo>
                  <a:pt x="854516" y="0"/>
                </a:lnTo>
                <a:lnTo>
                  <a:pt x="854516" y="425441"/>
                </a:lnTo>
                <a:lnTo>
                  <a:pt x="0" y="425441"/>
                </a:lnTo>
                <a:lnTo>
                  <a:pt x="0" y="0"/>
                </a:lnTo>
                <a:close/>
              </a:path>
            </a:pathLst>
          </a:custGeom>
        </p:spPr>
      </p:pic>
      <p:pic>
        <p:nvPicPr>
          <p:cNvPr id="49" name="Picture 48">
            <a:extLst>
              <a:ext uri="{FF2B5EF4-FFF2-40B4-BE49-F238E27FC236}">
                <a16:creationId xmlns:a16="http://schemas.microsoft.com/office/drawing/2014/main" id="{FE8EF28E-0572-7370-AE3B-88876B9C57CB}"/>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6222510" y="2779552"/>
            <a:ext cx="1123289" cy="437577"/>
          </a:xfrm>
          <a:custGeom>
            <a:avLst/>
            <a:gdLst>
              <a:gd name="connsiteX0" fmla="*/ 0 w 1092136"/>
              <a:gd name="connsiteY0" fmla="*/ 0 h 425441"/>
              <a:gd name="connsiteX1" fmla="*/ 1092136 w 1092136"/>
              <a:gd name="connsiteY1" fmla="*/ 0 h 425441"/>
              <a:gd name="connsiteX2" fmla="*/ 1092136 w 1092136"/>
              <a:gd name="connsiteY2" fmla="*/ 425441 h 425441"/>
              <a:gd name="connsiteX3" fmla="*/ 0 w 1092136"/>
              <a:gd name="connsiteY3" fmla="*/ 425441 h 425441"/>
              <a:gd name="connsiteX4" fmla="*/ 0 w 1092136"/>
              <a:gd name="connsiteY4" fmla="*/ 0 h 42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2136" h="425441">
                <a:moveTo>
                  <a:pt x="0" y="0"/>
                </a:moveTo>
                <a:lnTo>
                  <a:pt x="1092136" y="0"/>
                </a:lnTo>
                <a:lnTo>
                  <a:pt x="1092136" y="425441"/>
                </a:lnTo>
                <a:lnTo>
                  <a:pt x="0" y="425441"/>
                </a:lnTo>
                <a:lnTo>
                  <a:pt x="0" y="0"/>
                </a:lnTo>
                <a:close/>
              </a:path>
            </a:pathLst>
          </a:custGeom>
        </p:spPr>
      </p:pic>
      <p:pic>
        <p:nvPicPr>
          <p:cNvPr id="50" name="Picture 49">
            <a:extLst>
              <a:ext uri="{FF2B5EF4-FFF2-40B4-BE49-F238E27FC236}">
                <a16:creationId xmlns:a16="http://schemas.microsoft.com/office/drawing/2014/main" id="{004C6079-EEF7-94A0-4E12-32FAA2C59656}"/>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3916013" y="3697396"/>
            <a:ext cx="3206086" cy="526008"/>
          </a:xfrm>
          <a:custGeom>
            <a:avLst/>
            <a:gdLst>
              <a:gd name="connsiteX0" fmla="*/ 0 w 2540992"/>
              <a:gd name="connsiteY0" fmla="*/ 0 h 416889"/>
              <a:gd name="connsiteX1" fmla="*/ 2540992 w 2540992"/>
              <a:gd name="connsiteY1" fmla="*/ 0 h 416889"/>
              <a:gd name="connsiteX2" fmla="*/ 2540992 w 2540992"/>
              <a:gd name="connsiteY2" fmla="*/ 416889 h 416889"/>
              <a:gd name="connsiteX3" fmla="*/ 0 w 2540992"/>
              <a:gd name="connsiteY3" fmla="*/ 416889 h 416889"/>
              <a:gd name="connsiteX4" fmla="*/ 0 w 2540992"/>
              <a:gd name="connsiteY4" fmla="*/ 0 h 416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992" h="416889">
                <a:moveTo>
                  <a:pt x="0" y="0"/>
                </a:moveTo>
                <a:lnTo>
                  <a:pt x="2540992" y="0"/>
                </a:lnTo>
                <a:lnTo>
                  <a:pt x="2540992" y="416889"/>
                </a:lnTo>
                <a:lnTo>
                  <a:pt x="0" y="416889"/>
                </a:lnTo>
                <a:lnTo>
                  <a:pt x="0" y="0"/>
                </a:lnTo>
                <a:close/>
              </a:path>
            </a:pathLst>
          </a:custGeom>
        </p:spPr>
      </p:pic>
      <p:sp>
        <p:nvSpPr>
          <p:cNvPr id="51" name="Rectangle 50">
            <a:extLst>
              <a:ext uri="{FF2B5EF4-FFF2-40B4-BE49-F238E27FC236}">
                <a16:creationId xmlns:a16="http://schemas.microsoft.com/office/drawing/2014/main" id="{A1B2A8CF-D8FB-4F98-318F-F3C9B26B9515}"/>
              </a:ext>
            </a:extLst>
          </p:cNvPr>
          <p:cNvSpPr/>
          <p:nvPr/>
        </p:nvSpPr>
        <p:spPr>
          <a:xfrm>
            <a:off x="3776893" y="812800"/>
            <a:ext cx="5127829" cy="59074"/>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Tree>
    <p:extLst>
      <p:ext uri="{BB962C8B-B14F-4D97-AF65-F5344CB8AC3E}">
        <p14:creationId xmlns:p14="http://schemas.microsoft.com/office/powerpoint/2010/main" val="244353534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9E67D6-D8CE-A626-AE17-C153085BF00E}"/>
              </a:ext>
            </a:extLst>
          </p:cNvPr>
          <p:cNvSpPr>
            <a:spLocks noGrp="1"/>
          </p:cNvSpPr>
          <p:nvPr>
            <p:ph type="ctrTitle"/>
          </p:nvPr>
        </p:nvSpPr>
        <p:spPr/>
        <p:txBody>
          <a:bodyPr/>
          <a:lstStyle/>
          <a:p>
            <a:r>
              <a:rPr lang="en-US" dirty="0"/>
              <a:t>Partner</a:t>
            </a:r>
            <a:br>
              <a:rPr lang="en-US" dirty="0"/>
            </a:br>
            <a:r>
              <a:rPr lang="en-US" dirty="0"/>
              <a:t>Enablement</a:t>
            </a:r>
          </a:p>
        </p:txBody>
      </p:sp>
    </p:spTree>
    <p:extLst>
      <p:ext uri="{BB962C8B-B14F-4D97-AF65-F5344CB8AC3E}">
        <p14:creationId xmlns:p14="http://schemas.microsoft.com/office/powerpoint/2010/main" val="416966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latin typeface="Neue Haas Grotesk Text Pro" panose="020B0504020202020204" pitchFamily="34" charset="0"/>
              </a:rPr>
              <a:t>What’s In It For You the Partner? </a:t>
            </a:r>
            <a:endParaRPr lang="en-US" b="0">
              <a:latin typeface="Neue Haas Grotesk Text Pro" panose="020B0504020202020204" pitchFamily="34" charset="0"/>
            </a:endParaRPr>
          </a:p>
        </p:txBody>
      </p:sp>
      <p:sp>
        <p:nvSpPr>
          <p:cNvPr id="8" name="Rectangle: Rounded Corners 7">
            <a:extLst>
              <a:ext uri="{FF2B5EF4-FFF2-40B4-BE49-F238E27FC236}">
                <a16:creationId xmlns:a16="http://schemas.microsoft.com/office/drawing/2014/main" id="{06FB79DA-0090-07E9-95C9-E469209D0ED0}"/>
              </a:ext>
            </a:extLst>
          </p:cNvPr>
          <p:cNvSpPr/>
          <p:nvPr/>
        </p:nvSpPr>
        <p:spPr>
          <a:xfrm>
            <a:off x="202688" y="1491564"/>
            <a:ext cx="8693150" cy="599022"/>
          </a:xfrm>
          <a:prstGeom prst="roundRect">
            <a:avLst>
              <a:gd name="adj" fmla="val 5195"/>
            </a:avLst>
          </a:prstGeom>
          <a:solidFill>
            <a:srgbClr val="FFFFFF"/>
          </a:solidFill>
          <a:effectLst>
            <a:outerShdw blurRad="63500" sx="101000" sy="101000" algn="ctr" rotWithShape="0">
              <a:schemeClr val="accent3">
                <a:alpha val="20000"/>
              </a:schemeClr>
            </a:outerShdw>
          </a:effectLst>
        </p:spPr>
        <p:txBody>
          <a:bodyPr wrap="square" lIns="914400" tIns="0" rIns="0" bIns="0" rtlCol="0" anchor="ctr"/>
          <a:lstStyle/>
          <a:p>
            <a:r>
              <a:rPr lang="en-US" sz="1400">
                <a:solidFill>
                  <a:srgbClr val="222222"/>
                </a:solidFill>
                <a:latin typeface="Neue Haas Grotesk Text Pro" panose="020B0504020202020204" pitchFamily="34" charset="0"/>
              </a:rPr>
              <a:t>Easy to add partner-led services</a:t>
            </a:r>
          </a:p>
        </p:txBody>
      </p:sp>
      <p:sp>
        <p:nvSpPr>
          <p:cNvPr id="9" name="Rectangle: Rounded Corners 8">
            <a:extLst>
              <a:ext uri="{FF2B5EF4-FFF2-40B4-BE49-F238E27FC236}">
                <a16:creationId xmlns:a16="http://schemas.microsoft.com/office/drawing/2014/main" id="{D84A68A8-DF13-2B7C-3FA9-D61140991E0B}"/>
              </a:ext>
            </a:extLst>
          </p:cNvPr>
          <p:cNvSpPr/>
          <p:nvPr/>
        </p:nvSpPr>
        <p:spPr>
          <a:xfrm>
            <a:off x="202688" y="2148827"/>
            <a:ext cx="8693150" cy="599022"/>
          </a:xfrm>
          <a:prstGeom prst="roundRect">
            <a:avLst>
              <a:gd name="adj" fmla="val 5195"/>
            </a:avLst>
          </a:prstGeom>
          <a:solidFill>
            <a:srgbClr val="FFFFFF"/>
          </a:solidFill>
          <a:effectLst>
            <a:outerShdw blurRad="63500" sx="101000" sy="101000" algn="ctr" rotWithShape="0">
              <a:schemeClr val="accent2">
                <a:alpha val="20000"/>
              </a:schemeClr>
            </a:outerShdw>
          </a:effectLst>
        </p:spPr>
        <p:txBody>
          <a:bodyPr wrap="square" lIns="914400" tIns="0" rIns="0" bIns="0" rtlCol="0" anchor="ctr"/>
          <a:lstStyle/>
          <a:p>
            <a:r>
              <a:rPr lang="en-US" sz="1400">
                <a:solidFill>
                  <a:srgbClr val="222222"/>
                </a:solidFill>
                <a:latin typeface="Neue Haas Grotesk Text Pro" panose="020B0504020202020204" pitchFamily="34" charset="0"/>
              </a:rPr>
              <a:t>Partner maintains account relationship &amp; control</a:t>
            </a:r>
          </a:p>
        </p:txBody>
      </p:sp>
      <p:sp>
        <p:nvSpPr>
          <p:cNvPr id="10" name="Rectangle: Rounded Corners 9">
            <a:extLst>
              <a:ext uri="{FF2B5EF4-FFF2-40B4-BE49-F238E27FC236}">
                <a16:creationId xmlns:a16="http://schemas.microsoft.com/office/drawing/2014/main" id="{792C861C-837E-CEF9-64E5-4CA9B310792B}"/>
              </a:ext>
            </a:extLst>
          </p:cNvPr>
          <p:cNvSpPr/>
          <p:nvPr/>
        </p:nvSpPr>
        <p:spPr>
          <a:xfrm>
            <a:off x="202688" y="2806089"/>
            <a:ext cx="8693150" cy="599022"/>
          </a:xfrm>
          <a:prstGeom prst="roundRect">
            <a:avLst>
              <a:gd name="adj" fmla="val 5195"/>
            </a:avLst>
          </a:prstGeom>
          <a:solidFill>
            <a:srgbClr val="FFFFFF"/>
          </a:solidFill>
          <a:effectLst>
            <a:outerShdw blurRad="63500" sx="101000" sy="101000" algn="ctr" rotWithShape="0">
              <a:schemeClr val="accent3">
                <a:alpha val="20000"/>
              </a:schemeClr>
            </a:outerShdw>
          </a:effectLst>
        </p:spPr>
        <p:txBody>
          <a:bodyPr wrap="square" lIns="914400" tIns="0" rIns="0" bIns="0" rtlCol="0" anchor="ctr"/>
          <a:lstStyle/>
          <a:p>
            <a:r>
              <a:rPr lang="en-US" sz="1400">
                <a:solidFill>
                  <a:srgbClr val="222222"/>
                </a:solidFill>
                <a:latin typeface="Neue Haas Grotesk Text Pro" panose="020B0504020202020204" pitchFamily="34" charset="0"/>
              </a:rPr>
              <a:t>End-user pricing set by Partner </a:t>
            </a:r>
          </a:p>
        </p:txBody>
      </p:sp>
      <p:sp>
        <p:nvSpPr>
          <p:cNvPr id="11" name="Rectangle: Rounded Corners 10">
            <a:extLst>
              <a:ext uri="{FF2B5EF4-FFF2-40B4-BE49-F238E27FC236}">
                <a16:creationId xmlns:a16="http://schemas.microsoft.com/office/drawing/2014/main" id="{F4AEBD90-376E-917B-BE4F-8E53C395861E}"/>
              </a:ext>
            </a:extLst>
          </p:cNvPr>
          <p:cNvSpPr/>
          <p:nvPr/>
        </p:nvSpPr>
        <p:spPr>
          <a:xfrm>
            <a:off x="202688" y="3463351"/>
            <a:ext cx="8693150" cy="599022"/>
          </a:xfrm>
          <a:prstGeom prst="roundRect">
            <a:avLst>
              <a:gd name="adj" fmla="val 5195"/>
            </a:avLst>
          </a:prstGeom>
          <a:solidFill>
            <a:srgbClr val="FFFFFF"/>
          </a:solidFill>
          <a:effectLst>
            <a:outerShdw blurRad="63500" sx="101000" sy="101000" algn="ctr" rotWithShape="0">
              <a:schemeClr val="accent2">
                <a:alpha val="20000"/>
              </a:schemeClr>
            </a:outerShdw>
          </a:effectLst>
        </p:spPr>
        <p:txBody>
          <a:bodyPr wrap="square" lIns="914400" tIns="0" rIns="0" bIns="0" rtlCol="0" anchor="ctr"/>
          <a:lstStyle/>
          <a:p>
            <a:r>
              <a:rPr lang="en-US" sz="1400">
                <a:solidFill>
                  <a:srgbClr val="222222"/>
                </a:solidFill>
                <a:latin typeface="Neue Haas Grotesk Text Pro" panose="020B0504020202020204" pitchFamily="34" charset="0"/>
              </a:rPr>
              <a:t>$$$$ - Recurring Revenue - the gift that keeps giving</a:t>
            </a:r>
          </a:p>
        </p:txBody>
      </p:sp>
      <p:sp>
        <p:nvSpPr>
          <p:cNvPr id="12" name="Rectangle: Rounded Corners 11">
            <a:extLst>
              <a:ext uri="{FF2B5EF4-FFF2-40B4-BE49-F238E27FC236}">
                <a16:creationId xmlns:a16="http://schemas.microsoft.com/office/drawing/2014/main" id="{624B16C0-D770-C9C0-C5C0-7303971E8D10}"/>
              </a:ext>
            </a:extLst>
          </p:cNvPr>
          <p:cNvSpPr/>
          <p:nvPr/>
        </p:nvSpPr>
        <p:spPr>
          <a:xfrm>
            <a:off x="202688" y="4120615"/>
            <a:ext cx="8693150" cy="599022"/>
          </a:xfrm>
          <a:prstGeom prst="roundRect">
            <a:avLst>
              <a:gd name="adj" fmla="val 5195"/>
            </a:avLst>
          </a:prstGeom>
          <a:solidFill>
            <a:srgbClr val="FFFFFF"/>
          </a:solidFill>
          <a:effectLst>
            <a:outerShdw blurRad="63500" sx="101000" sy="101000" algn="ctr" rotWithShape="0">
              <a:schemeClr val="accent3">
                <a:alpha val="20000"/>
              </a:schemeClr>
            </a:outerShdw>
          </a:effectLst>
        </p:spPr>
        <p:txBody>
          <a:bodyPr wrap="square" lIns="914400" tIns="0" rIns="0" bIns="0" rtlCol="0" anchor="ctr"/>
          <a:lstStyle/>
          <a:p>
            <a:r>
              <a:rPr lang="en-US" sz="1400">
                <a:solidFill>
                  <a:srgbClr val="222222"/>
                </a:solidFill>
                <a:latin typeface="Neue Haas Grotesk Text Pro" panose="020B0504020202020204" pitchFamily="34" charset="0"/>
              </a:rPr>
              <a:t>Operational and Financial Risk Mitigation</a:t>
            </a:r>
          </a:p>
        </p:txBody>
      </p:sp>
      <p:sp>
        <p:nvSpPr>
          <p:cNvPr id="13" name="Rectangle: Rounded Corners 12">
            <a:extLst>
              <a:ext uri="{FF2B5EF4-FFF2-40B4-BE49-F238E27FC236}">
                <a16:creationId xmlns:a16="http://schemas.microsoft.com/office/drawing/2014/main" id="{F12CCF38-227F-0621-279D-41ED25178769}"/>
              </a:ext>
            </a:extLst>
          </p:cNvPr>
          <p:cNvSpPr/>
          <p:nvPr/>
        </p:nvSpPr>
        <p:spPr>
          <a:xfrm>
            <a:off x="202688" y="834302"/>
            <a:ext cx="8693150" cy="599022"/>
          </a:xfrm>
          <a:prstGeom prst="roundRect">
            <a:avLst>
              <a:gd name="adj" fmla="val 5195"/>
            </a:avLst>
          </a:prstGeom>
          <a:solidFill>
            <a:srgbClr val="FFFFFF"/>
          </a:solidFill>
          <a:effectLst>
            <a:outerShdw blurRad="63500" sx="101000" sy="101000" algn="ctr" rotWithShape="0">
              <a:schemeClr val="accent2">
                <a:alpha val="20000"/>
              </a:schemeClr>
            </a:outerShdw>
          </a:effectLst>
        </p:spPr>
        <p:txBody>
          <a:bodyPr wrap="square" lIns="914400" tIns="0" rIns="0" bIns="0" rtlCol="0" anchor="ctr"/>
          <a:lstStyle/>
          <a:p>
            <a:pPr defTabSz="800100">
              <a:spcBef>
                <a:spcPct val="0"/>
              </a:spcBef>
              <a:spcAft>
                <a:spcPct val="35000"/>
              </a:spcAft>
              <a:defRPr/>
            </a:pPr>
            <a:r>
              <a:rPr lang="en-US" sz="1400">
                <a:solidFill>
                  <a:srgbClr val="222222"/>
                </a:solidFill>
                <a:latin typeface="Neue Haas Grotesk Text Pro" panose="020B0504020202020204" pitchFamily="34" charset="0"/>
              </a:rPr>
              <a:t>Simple &amp; Market-Proven Consumption Model (“</a:t>
            </a:r>
            <a:r>
              <a:rPr lang="en-US" sz="1400" err="1">
                <a:solidFill>
                  <a:srgbClr val="222222"/>
                </a:solidFill>
                <a:latin typeface="Neue Haas Grotesk Text Pro" panose="020B0504020202020204" pitchFamily="34" charset="0"/>
              </a:rPr>
              <a:t>EverFlex</a:t>
            </a:r>
            <a:r>
              <a:rPr lang="en-US" sz="1400">
                <a:solidFill>
                  <a:srgbClr val="222222"/>
                </a:solidFill>
                <a:latin typeface="Neue Haas Grotesk Text Pro" panose="020B0504020202020204" pitchFamily="34" charset="0"/>
              </a:rPr>
              <a:t>”) </a:t>
            </a:r>
          </a:p>
        </p:txBody>
      </p:sp>
      <p:sp>
        <p:nvSpPr>
          <p:cNvPr id="14" name="Freeform: Shape 13">
            <a:extLst>
              <a:ext uri="{FF2B5EF4-FFF2-40B4-BE49-F238E27FC236}">
                <a16:creationId xmlns:a16="http://schemas.microsoft.com/office/drawing/2014/main" id="{83C64DED-7126-6BE4-03CD-41579E681A2A}"/>
              </a:ext>
            </a:extLst>
          </p:cNvPr>
          <p:cNvSpPr>
            <a:spLocks noChangeAspect="1"/>
          </p:cNvSpPr>
          <p:nvPr/>
        </p:nvSpPr>
        <p:spPr>
          <a:xfrm>
            <a:off x="250301" y="2148827"/>
            <a:ext cx="755539"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sp>
        <p:nvSpPr>
          <p:cNvPr id="15" name="Freeform: Shape 14">
            <a:extLst>
              <a:ext uri="{FF2B5EF4-FFF2-40B4-BE49-F238E27FC236}">
                <a16:creationId xmlns:a16="http://schemas.microsoft.com/office/drawing/2014/main" id="{21619170-0131-B457-0BF7-7F2AD5CCC418}"/>
              </a:ext>
            </a:extLst>
          </p:cNvPr>
          <p:cNvSpPr>
            <a:spLocks noChangeAspect="1"/>
          </p:cNvSpPr>
          <p:nvPr/>
        </p:nvSpPr>
        <p:spPr>
          <a:xfrm>
            <a:off x="250301" y="1491564"/>
            <a:ext cx="787331"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sp>
        <p:nvSpPr>
          <p:cNvPr id="16" name="Freeform: Shape 15">
            <a:extLst>
              <a:ext uri="{FF2B5EF4-FFF2-40B4-BE49-F238E27FC236}">
                <a16:creationId xmlns:a16="http://schemas.microsoft.com/office/drawing/2014/main" id="{F1B0ECAE-5DFC-04A1-9BAE-C5BB08766F9C}"/>
              </a:ext>
            </a:extLst>
          </p:cNvPr>
          <p:cNvSpPr>
            <a:spLocks noChangeAspect="1"/>
          </p:cNvSpPr>
          <p:nvPr/>
        </p:nvSpPr>
        <p:spPr>
          <a:xfrm>
            <a:off x="250301" y="2806089"/>
            <a:ext cx="787331"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sp>
        <p:nvSpPr>
          <p:cNvPr id="17" name="Freeform: Shape 16">
            <a:extLst>
              <a:ext uri="{FF2B5EF4-FFF2-40B4-BE49-F238E27FC236}">
                <a16:creationId xmlns:a16="http://schemas.microsoft.com/office/drawing/2014/main" id="{FA65E3F0-1684-E09E-681E-881BB7A906EB}"/>
              </a:ext>
            </a:extLst>
          </p:cNvPr>
          <p:cNvSpPr>
            <a:spLocks noChangeAspect="1"/>
          </p:cNvSpPr>
          <p:nvPr/>
        </p:nvSpPr>
        <p:spPr>
          <a:xfrm>
            <a:off x="250301" y="3463351"/>
            <a:ext cx="787331"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sp>
        <p:nvSpPr>
          <p:cNvPr id="18" name="Freeform: Shape 17">
            <a:extLst>
              <a:ext uri="{FF2B5EF4-FFF2-40B4-BE49-F238E27FC236}">
                <a16:creationId xmlns:a16="http://schemas.microsoft.com/office/drawing/2014/main" id="{E4219AA8-FE32-AB55-7084-720B2263C709}"/>
              </a:ext>
            </a:extLst>
          </p:cNvPr>
          <p:cNvSpPr>
            <a:spLocks noChangeAspect="1"/>
          </p:cNvSpPr>
          <p:nvPr/>
        </p:nvSpPr>
        <p:spPr>
          <a:xfrm>
            <a:off x="250301" y="4120615"/>
            <a:ext cx="787331"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sp>
        <p:nvSpPr>
          <p:cNvPr id="19" name="Freeform: Shape 18">
            <a:extLst>
              <a:ext uri="{FF2B5EF4-FFF2-40B4-BE49-F238E27FC236}">
                <a16:creationId xmlns:a16="http://schemas.microsoft.com/office/drawing/2014/main" id="{BB8CFE14-3521-6A7F-631D-B0918F3F1DF4}"/>
              </a:ext>
            </a:extLst>
          </p:cNvPr>
          <p:cNvSpPr>
            <a:spLocks noChangeAspect="1"/>
          </p:cNvSpPr>
          <p:nvPr/>
        </p:nvSpPr>
        <p:spPr>
          <a:xfrm>
            <a:off x="250301" y="834302"/>
            <a:ext cx="787331" cy="599022"/>
          </a:xfrm>
          <a:custGeom>
            <a:avLst/>
            <a:gdLst>
              <a:gd name="connsiteX0" fmla="*/ 166509 w 930208"/>
              <a:gd name="connsiteY0" fmla="*/ 0 h 707726"/>
              <a:gd name="connsiteX1" fmla="*/ 763700 w 930208"/>
              <a:gd name="connsiteY1" fmla="*/ 0 h 707726"/>
              <a:gd name="connsiteX2" fmla="*/ 793982 w 930208"/>
              <a:gd name="connsiteY2" fmla="*/ 24986 h 707726"/>
              <a:gd name="connsiteX3" fmla="*/ 930208 w 930208"/>
              <a:gd name="connsiteY3" fmla="*/ 353863 h 707726"/>
              <a:gd name="connsiteX4" fmla="*/ 793982 w 930208"/>
              <a:gd name="connsiteY4" fmla="*/ 682741 h 707726"/>
              <a:gd name="connsiteX5" fmla="*/ 763700 w 930208"/>
              <a:gd name="connsiteY5" fmla="*/ 707726 h 707726"/>
              <a:gd name="connsiteX6" fmla="*/ 166509 w 930208"/>
              <a:gd name="connsiteY6" fmla="*/ 707726 h 707726"/>
              <a:gd name="connsiteX7" fmla="*/ 136226 w 930208"/>
              <a:gd name="connsiteY7" fmla="*/ 682741 h 707726"/>
              <a:gd name="connsiteX8" fmla="*/ 0 w 930208"/>
              <a:gd name="connsiteY8" fmla="*/ 353863 h 707726"/>
              <a:gd name="connsiteX9" fmla="*/ 136226 w 930208"/>
              <a:gd name="connsiteY9" fmla="*/ 24986 h 70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208" h="707726">
                <a:moveTo>
                  <a:pt x="166509" y="0"/>
                </a:moveTo>
                <a:lnTo>
                  <a:pt x="763700" y="0"/>
                </a:lnTo>
                <a:lnTo>
                  <a:pt x="793982" y="24986"/>
                </a:lnTo>
                <a:cubicBezTo>
                  <a:pt x="878150" y="109153"/>
                  <a:pt x="930208" y="225429"/>
                  <a:pt x="930208" y="353863"/>
                </a:cubicBezTo>
                <a:cubicBezTo>
                  <a:pt x="930208" y="482298"/>
                  <a:pt x="878150" y="598573"/>
                  <a:pt x="793982" y="682741"/>
                </a:cubicBezTo>
                <a:lnTo>
                  <a:pt x="763700" y="707726"/>
                </a:lnTo>
                <a:lnTo>
                  <a:pt x="166509" y="707726"/>
                </a:lnTo>
                <a:lnTo>
                  <a:pt x="136226" y="682741"/>
                </a:lnTo>
                <a:cubicBezTo>
                  <a:pt x="52059" y="598573"/>
                  <a:pt x="0" y="482298"/>
                  <a:pt x="0" y="353863"/>
                </a:cubicBezTo>
                <a:cubicBezTo>
                  <a:pt x="0" y="225429"/>
                  <a:pt x="52059" y="109153"/>
                  <a:pt x="136226" y="24986"/>
                </a:cubicBezTo>
                <a:close/>
              </a:path>
            </a:pathLst>
          </a:custGeom>
          <a:solidFill>
            <a:srgbClr val="4571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rgbClr val="222222"/>
              </a:solidFill>
              <a:effectLst/>
              <a:uLnTx/>
              <a:uFillTx/>
              <a:latin typeface="Neue Haas Grotesk Text Pro" panose="020B0504020202020204" pitchFamily="34" charset="0"/>
            </a:endParaRPr>
          </a:p>
        </p:txBody>
      </p:sp>
      <p:pic>
        <p:nvPicPr>
          <p:cNvPr id="20" name="Graphic 19">
            <a:extLst>
              <a:ext uri="{FF2B5EF4-FFF2-40B4-BE49-F238E27FC236}">
                <a16:creationId xmlns:a16="http://schemas.microsoft.com/office/drawing/2014/main" id="{81BF0399-702B-70DE-4F9E-5382700FE57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9043" y="928890"/>
            <a:ext cx="409847" cy="409847"/>
          </a:xfrm>
          <a:prstGeom prst="rect">
            <a:avLst/>
          </a:prstGeom>
        </p:spPr>
      </p:pic>
      <p:pic>
        <p:nvPicPr>
          <p:cNvPr id="21" name="Graphic 20">
            <a:extLst>
              <a:ext uri="{FF2B5EF4-FFF2-40B4-BE49-F238E27FC236}">
                <a16:creationId xmlns:a16="http://schemas.microsoft.com/office/drawing/2014/main" id="{77E9DBD0-08DD-75B4-A2F4-AFB5A7EFD3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9043" y="1586152"/>
            <a:ext cx="409847" cy="409847"/>
          </a:xfrm>
          <a:prstGeom prst="rect">
            <a:avLst/>
          </a:prstGeom>
        </p:spPr>
      </p:pic>
      <p:pic>
        <p:nvPicPr>
          <p:cNvPr id="22" name="Graphic 21">
            <a:extLst>
              <a:ext uri="{FF2B5EF4-FFF2-40B4-BE49-F238E27FC236}">
                <a16:creationId xmlns:a16="http://schemas.microsoft.com/office/drawing/2014/main" id="{CCC75082-4CB7-197E-F14A-F599238ABF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3147" y="2243415"/>
            <a:ext cx="409847" cy="409847"/>
          </a:xfrm>
          <a:prstGeom prst="rect">
            <a:avLst/>
          </a:prstGeom>
        </p:spPr>
      </p:pic>
      <p:pic>
        <p:nvPicPr>
          <p:cNvPr id="23" name="Graphic 22">
            <a:extLst>
              <a:ext uri="{FF2B5EF4-FFF2-40B4-BE49-F238E27FC236}">
                <a16:creationId xmlns:a16="http://schemas.microsoft.com/office/drawing/2014/main" id="{CC83995B-4402-FD5A-828B-066BB4E51C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9043" y="2900677"/>
            <a:ext cx="409847" cy="409847"/>
          </a:xfrm>
          <a:prstGeom prst="rect">
            <a:avLst/>
          </a:prstGeom>
        </p:spPr>
      </p:pic>
      <p:pic>
        <p:nvPicPr>
          <p:cNvPr id="24" name="Graphic 23">
            <a:extLst>
              <a:ext uri="{FF2B5EF4-FFF2-40B4-BE49-F238E27FC236}">
                <a16:creationId xmlns:a16="http://schemas.microsoft.com/office/drawing/2014/main" id="{8D39F1B0-E589-5AFC-07F2-5212C9252FE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9043" y="3557939"/>
            <a:ext cx="409847" cy="409847"/>
          </a:xfrm>
          <a:prstGeom prst="rect">
            <a:avLst/>
          </a:prstGeom>
        </p:spPr>
      </p:pic>
      <p:pic>
        <p:nvPicPr>
          <p:cNvPr id="25" name="Graphic 24">
            <a:extLst>
              <a:ext uri="{FF2B5EF4-FFF2-40B4-BE49-F238E27FC236}">
                <a16:creationId xmlns:a16="http://schemas.microsoft.com/office/drawing/2014/main" id="{16F727EF-7C4F-C81C-6CFC-DECB0FD584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39043" y="4215203"/>
            <a:ext cx="409847" cy="409847"/>
          </a:xfrm>
          <a:prstGeom prst="rect">
            <a:avLst/>
          </a:prstGeom>
        </p:spPr>
      </p:pic>
    </p:spTree>
    <p:extLst>
      <p:ext uri="{BB962C8B-B14F-4D97-AF65-F5344CB8AC3E}">
        <p14:creationId xmlns:p14="http://schemas.microsoft.com/office/powerpoint/2010/main" val="16206243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latin typeface="Neue Haas Grotesk Text Pro" panose="020B0504020202020204" pitchFamily="34" charset="0"/>
              </a:rPr>
              <a:t>Go to Market / Sales Enablement</a:t>
            </a:r>
            <a:endParaRPr lang="en-US" sz="1800" b="0">
              <a:latin typeface="Neue Haas Grotesk Text Pro" panose="020B0504020202020204" pitchFamily="34" charset="0"/>
            </a:endParaRPr>
          </a:p>
        </p:txBody>
      </p:sp>
      <p:sp>
        <p:nvSpPr>
          <p:cNvPr id="6" name="Rectangle 5">
            <a:extLst>
              <a:ext uri="{FF2B5EF4-FFF2-40B4-BE49-F238E27FC236}">
                <a16:creationId xmlns:a16="http://schemas.microsoft.com/office/drawing/2014/main" id="{A7A5E80C-C898-CF77-731C-3D7F683C4EA5}"/>
              </a:ext>
            </a:extLst>
          </p:cNvPr>
          <p:cNvSpPr/>
          <p:nvPr/>
        </p:nvSpPr>
        <p:spPr>
          <a:xfrm>
            <a:off x="190500" y="816854"/>
            <a:ext cx="8724900" cy="326037"/>
          </a:xfrm>
          <a:prstGeom prst="rect">
            <a:avLst/>
          </a:prstGeom>
          <a:solidFill>
            <a:schemeClr val="accent2"/>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a:ln>
                  <a:noFill/>
                </a:ln>
                <a:solidFill>
                  <a:schemeClr val="bg1"/>
                </a:solidFill>
                <a:effectLst/>
                <a:uLnTx/>
                <a:uFillTx/>
                <a:latin typeface="Neue Haas Grotesk Text Pro" panose="020B0504020202020204" pitchFamily="34" charset="0"/>
                <a:ea typeface="+mn-ea"/>
                <a:cs typeface="+mn-cs"/>
              </a:rPr>
              <a:t>PARTNER FOCUSED</a:t>
            </a:r>
          </a:p>
        </p:txBody>
      </p:sp>
      <p:pic>
        <p:nvPicPr>
          <p:cNvPr id="7" name="Graphic 6">
            <a:extLst>
              <a:ext uri="{FF2B5EF4-FFF2-40B4-BE49-F238E27FC236}">
                <a16:creationId xmlns:a16="http://schemas.microsoft.com/office/drawing/2014/main" id="{756F482C-4FAE-CD25-475A-85D0DA9D141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47641" y="848091"/>
            <a:ext cx="263561" cy="263561"/>
          </a:xfrm>
          <a:prstGeom prst="rect">
            <a:avLst/>
          </a:prstGeom>
        </p:spPr>
      </p:pic>
      <p:sp>
        <p:nvSpPr>
          <p:cNvPr id="8" name="Rectangle: Rounded Corners 7">
            <a:extLst>
              <a:ext uri="{FF2B5EF4-FFF2-40B4-BE49-F238E27FC236}">
                <a16:creationId xmlns:a16="http://schemas.microsoft.com/office/drawing/2014/main" id="{4E4FEE2A-795E-AA81-98CB-E2FB34207B52}"/>
              </a:ext>
            </a:extLst>
          </p:cNvPr>
          <p:cNvSpPr/>
          <p:nvPr/>
        </p:nvSpPr>
        <p:spPr>
          <a:xfrm>
            <a:off x="3597131" y="1204077"/>
            <a:ext cx="5318269" cy="1115873"/>
          </a:xfrm>
          <a:prstGeom prst="roundRect">
            <a:avLst>
              <a:gd name="adj" fmla="val 1285"/>
            </a:avLst>
          </a:pr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lang="en-GB" err="1">
              <a:solidFill>
                <a:schemeClr val="tx1"/>
              </a:solidFill>
              <a:latin typeface="Neue Haas Grotesk Text Pro" panose="020B0504020202020204" pitchFamily="34" charset="0"/>
            </a:endParaRPr>
          </a:p>
        </p:txBody>
      </p:sp>
      <p:sp>
        <p:nvSpPr>
          <p:cNvPr id="9" name="Rectangle: Rounded Corners 8">
            <a:extLst>
              <a:ext uri="{FF2B5EF4-FFF2-40B4-BE49-F238E27FC236}">
                <a16:creationId xmlns:a16="http://schemas.microsoft.com/office/drawing/2014/main" id="{BF53C340-AEC6-354E-9448-2DDDE5100D87}"/>
              </a:ext>
            </a:extLst>
          </p:cNvPr>
          <p:cNvSpPr/>
          <p:nvPr/>
        </p:nvSpPr>
        <p:spPr>
          <a:xfrm>
            <a:off x="3597131" y="1204077"/>
            <a:ext cx="5318269" cy="25007"/>
          </a:xfrm>
          <a:prstGeom prst="roundRect">
            <a:avLst>
              <a:gd name="adj" fmla="val 1285"/>
            </a:avLst>
          </a:prstGeom>
          <a:solidFill>
            <a:srgbClr val="4571B6"/>
          </a:solidFill>
          <a:ln w="3936" cap="flat">
            <a:no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3" tIns="41476" rIns="82953" bIns="41476" numCol="1" spcCol="0" rtlCol="0" fromWordArt="0" anchor="ctr" anchorCtr="0" forceAA="0" compatLnSpc="1">
            <a:prstTxWarp prst="textNoShape">
              <a:avLst/>
            </a:prstTxWarp>
            <a:noAutofit/>
          </a:bodyPr>
          <a:lstStyle/>
          <a:p>
            <a:pPr marL="0" marR="0" lvl="0" indent="0" algn="l" defTabSz="457200" eaLnBrk="1" fontAlgn="auto" latinLnBrk="0" hangingPunct="1">
              <a:spcBef>
                <a:spcPts val="0"/>
              </a:spcBef>
              <a:spcAft>
                <a:spcPts val="0"/>
              </a:spcAft>
              <a:buClrTx/>
              <a:buSzTx/>
              <a:buFontTx/>
              <a:buNone/>
              <a:tabLst/>
              <a:defRPr/>
            </a:pPr>
            <a:endParaRPr kumimoji="0" lang="en-GB" sz="2000" b="0" i="0" u="none" strike="noStrike" kern="1200" cap="none" normalizeH="0" baseline="0" noProof="0" err="1">
              <a:ln>
                <a:noFill/>
              </a:ln>
              <a:solidFill>
                <a:srgbClr val="222222"/>
              </a:solidFill>
              <a:effectLst/>
              <a:uLnTx/>
              <a:uFillTx/>
              <a:latin typeface="Neue Haas Grotesk Text Pro" panose="020B0504020202020204" pitchFamily="34" charset="0"/>
            </a:endParaRPr>
          </a:p>
        </p:txBody>
      </p:sp>
      <p:sp>
        <p:nvSpPr>
          <p:cNvPr id="10" name="Content Placeholder 6">
            <a:extLst>
              <a:ext uri="{FF2B5EF4-FFF2-40B4-BE49-F238E27FC236}">
                <a16:creationId xmlns:a16="http://schemas.microsoft.com/office/drawing/2014/main" id="{1D37BDE4-ADC0-E3B6-E56F-5A8B18E222C6}"/>
              </a:ext>
            </a:extLst>
          </p:cNvPr>
          <p:cNvSpPr txBox="1">
            <a:spLocks/>
          </p:cNvSpPr>
          <p:nvPr/>
        </p:nvSpPr>
        <p:spPr>
          <a:xfrm>
            <a:off x="3635231" y="1545058"/>
            <a:ext cx="4238294" cy="754053"/>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7160" indent="-137160">
              <a:spcBef>
                <a:spcPts val="0"/>
              </a:spcBef>
              <a:buClr>
                <a:srgbClr val="CC0000"/>
              </a:buClr>
              <a:defRPr/>
            </a:pPr>
            <a:r>
              <a:rPr lang="en-US" sz="1100" dirty="0">
                <a:solidFill>
                  <a:srgbClr val="222222"/>
                </a:solidFill>
                <a:latin typeface="Neue Haas Grotesk Text Pro" panose="020B0504020202020204" pitchFamily="34" charset="0"/>
              </a:rPr>
              <a:t>Services Sales/Proposal</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Solutioning/Technical</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Financial/Pricing</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Partner Channel</a:t>
            </a:r>
          </a:p>
        </p:txBody>
      </p:sp>
      <p:sp>
        <p:nvSpPr>
          <p:cNvPr id="11" name="TextBox 10">
            <a:extLst>
              <a:ext uri="{FF2B5EF4-FFF2-40B4-BE49-F238E27FC236}">
                <a16:creationId xmlns:a16="http://schemas.microsoft.com/office/drawing/2014/main" id="{9D06B4F7-A29B-742B-BFE0-4062BC4CA3D1}"/>
              </a:ext>
            </a:extLst>
          </p:cNvPr>
          <p:cNvSpPr txBox="1"/>
          <p:nvPr/>
        </p:nvSpPr>
        <p:spPr>
          <a:xfrm>
            <a:off x="3635231" y="1299707"/>
            <a:ext cx="4238294" cy="215444"/>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defTabSz="45720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solidFill>
                  <a:srgbClr val="4571B6"/>
                </a:solidFill>
                <a:effectLst/>
                <a:uLnTx/>
                <a:uFillTx/>
                <a:latin typeface="Neue Haas Grotesk Text Pro" panose="020B0504020202020204" pitchFamily="34" charset="0"/>
              </a:rPr>
              <a:t>HITACHI VANTARA HC² POD</a:t>
            </a:r>
          </a:p>
        </p:txBody>
      </p:sp>
      <p:sp>
        <p:nvSpPr>
          <p:cNvPr id="12" name="Rectangle: Rounded Corners 11">
            <a:extLst>
              <a:ext uri="{FF2B5EF4-FFF2-40B4-BE49-F238E27FC236}">
                <a16:creationId xmlns:a16="http://schemas.microsoft.com/office/drawing/2014/main" id="{F851764E-6BF9-A010-25C6-1ACBCACE0879}"/>
              </a:ext>
            </a:extLst>
          </p:cNvPr>
          <p:cNvSpPr/>
          <p:nvPr/>
        </p:nvSpPr>
        <p:spPr>
          <a:xfrm>
            <a:off x="3597131" y="2389890"/>
            <a:ext cx="5318269" cy="1115873"/>
          </a:xfrm>
          <a:prstGeom prst="roundRect">
            <a:avLst>
              <a:gd name="adj" fmla="val 1285"/>
            </a:avLst>
          </a:pr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lang="en-GB" err="1">
              <a:solidFill>
                <a:schemeClr val="tx1"/>
              </a:solidFill>
              <a:latin typeface="Neue Haas Grotesk Text Pro" panose="020B0504020202020204" pitchFamily="34" charset="0"/>
            </a:endParaRPr>
          </a:p>
        </p:txBody>
      </p:sp>
      <p:sp>
        <p:nvSpPr>
          <p:cNvPr id="13" name="Rectangle: Rounded Corners 12">
            <a:extLst>
              <a:ext uri="{FF2B5EF4-FFF2-40B4-BE49-F238E27FC236}">
                <a16:creationId xmlns:a16="http://schemas.microsoft.com/office/drawing/2014/main" id="{5033597C-A4CE-F35C-8BA5-E7F3B11F39E0}"/>
              </a:ext>
            </a:extLst>
          </p:cNvPr>
          <p:cNvSpPr/>
          <p:nvPr/>
        </p:nvSpPr>
        <p:spPr>
          <a:xfrm>
            <a:off x="3597131" y="2389890"/>
            <a:ext cx="5318269" cy="25007"/>
          </a:xfrm>
          <a:prstGeom prst="roundRect">
            <a:avLst>
              <a:gd name="adj" fmla="val 1285"/>
            </a:avLst>
          </a:prstGeom>
          <a:solidFill>
            <a:srgbClr val="4571B6"/>
          </a:solidFill>
          <a:ln w="3936" cap="flat">
            <a:no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3" tIns="41476" rIns="82953" bIns="41476" numCol="1" spcCol="0" rtlCol="0" fromWordArt="0" anchor="ctr" anchorCtr="0" forceAA="0" compatLnSpc="1">
            <a:prstTxWarp prst="textNoShape">
              <a:avLst/>
            </a:prstTxWarp>
            <a:noAutofit/>
          </a:bodyPr>
          <a:lstStyle/>
          <a:p>
            <a:pPr marL="0" marR="0" lvl="0" indent="0" algn="l" defTabSz="457200" eaLnBrk="1" fontAlgn="auto" latinLnBrk="0" hangingPunct="1">
              <a:spcBef>
                <a:spcPts val="0"/>
              </a:spcBef>
              <a:spcAft>
                <a:spcPts val="0"/>
              </a:spcAft>
              <a:buClrTx/>
              <a:buSzTx/>
              <a:buFontTx/>
              <a:buNone/>
              <a:tabLst/>
              <a:defRPr/>
            </a:pPr>
            <a:endParaRPr kumimoji="0" lang="en-GB" sz="2000" b="0" i="0" u="none" strike="noStrike" kern="1200" cap="none" normalizeH="0" baseline="0" noProof="0" err="1">
              <a:ln>
                <a:noFill/>
              </a:ln>
              <a:solidFill>
                <a:srgbClr val="222222"/>
              </a:solidFill>
              <a:effectLst/>
              <a:uLnTx/>
              <a:uFillTx/>
              <a:latin typeface="Neue Haas Grotesk Text Pro" panose="020B0504020202020204" pitchFamily="34" charset="0"/>
            </a:endParaRPr>
          </a:p>
        </p:txBody>
      </p:sp>
      <p:sp>
        <p:nvSpPr>
          <p:cNvPr id="14" name="Content Placeholder 6">
            <a:extLst>
              <a:ext uri="{FF2B5EF4-FFF2-40B4-BE49-F238E27FC236}">
                <a16:creationId xmlns:a16="http://schemas.microsoft.com/office/drawing/2014/main" id="{45A3A3D4-E834-ADB8-1E57-C3E29E97094E}"/>
              </a:ext>
            </a:extLst>
          </p:cNvPr>
          <p:cNvSpPr txBox="1">
            <a:spLocks/>
          </p:cNvSpPr>
          <p:nvPr/>
        </p:nvSpPr>
        <p:spPr>
          <a:xfrm>
            <a:off x="3635231" y="2730871"/>
            <a:ext cx="4238294" cy="559127"/>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7160" indent="-137160">
              <a:spcBef>
                <a:spcPts val="0"/>
              </a:spcBef>
              <a:buClr>
                <a:srgbClr val="CC0000"/>
              </a:buClr>
              <a:defRPr/>
            </a:pPr>
            <a:r>
              <a:rPr lang="en-US" sz="1100" dirty="0">
                <a:solidFill>
                  <a:srgbClr val="222222"/>
                </a:solidFill>
                <a:latin typeface="Neue Haas Grotesk Text Pro" panose="020B0504020202020204" pitchFamily="34" charset="0"/>
              </a:rPr>
              <a:t>Assist and validate solution architecture</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Ensure alignment to Cisco best practices</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Collaborate with Partner and HV Teams</a:t>
            </a:r>
          </a:p>
        </p:txBody>
      </p:sp>
      <p:sp>
        <p:nvSpPr>
          <p:cNvPr id="15" name="TextBox 14">
            <a:extLst>
              <a:ext uri="{FF2B5EF4-FFF2-40B4-BE49-F238E27FC236}">
                <a16:creationId xmlns:a16="http://schemas.microsoft.com/office/drawing/2014/main" id="{4C225F5E-B137-D150-515F-B6BFA8986A34}"/>
              </a:ext>
            </a:extLst>
          </p:cNvPr>
          <p:cNvSpPr txBox="1"/>
          <p:nvPr/>
        </p:nvSpPr>
        <p:spPr>
          <a:xfrm>
            <a:off x="3635231" y="2485520"/>
            <a:ext cx="4238294" cy="215444"/>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defTabSz="45720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solidFill>
                  <a:srgbClr val="4571B6"/>
                </a:solidFill>
                <a:effectLst/>
                <a:uLnTx/>
                <a:uFillTx/>
                <a:latin typeface="Neue Haas Grotesk Text Pro" panose="020B0504020202020204" pitchFamily="34" charset="0"/>
              </a:rPr>
              <a:t>CISCO</a:t>
            </a:r>
          </a:p>
        </p:txBody>
      </p:sp>
      <p:sp>
        <p:nvSpPr>
          <p:cNvPr id="16" name="Rectangle: Rounded Corners 15">
            <a:extLst>
              <a:ext uri="{FF2B5EF4-FFF2-40B4-BE49-F238E27FC236}">
                <a16:creationId xmlns:a16="http://schemas.microsoft.com/office/drawing/2014/main" id="{3AA80784-A38F-963A-1C60-C08581141AFE}"/>
              </a:ext>
            </a:extLst>
          </p:cNvPr>
          <p:cNvSpPr/>
          <p:nvPr/>
        </p:nvSpPr>
        <p:spPr>
          <a:xfrm>
            <a:off x="3597131" y="3575702"/>
            <a:ext cx="5318269" cy="1115873"/>
          </a:xfrm>
          <a:prstGeom prst="roundRect">
            <a:avLst>
              <a:gd name="adj" fmla="val 1285"/>
            </a:avLst>
          </a:pr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lang="en-GB" err="1">
              <a:solidFill>
                <a:schemeClr val="tx1"/>
              </a:solidFill>
              <a:latin typeface="Neue Haas Grotesk Text Pro" panose="020B0504020202020204" pitchFamily="34" charset="0"/>
            </a:endParaRPr>
          </a:p>
        </p:txBody>
      </p:sp>
      <p:sp>
        <p:nvSpPr>
          <p:cNvPr id="17" name="Rectangle: Rounded Corners 16">
            <a:extLst>
              <a:ext uri="{FF2B5EF4-FFF2-40B4-BE49-F238E27FC236}">
                <a16:creationId xmlns:a16="http://schemas.microsoft.com/office/drawing/2014/main" id="{F9A4A00D-61DB-3341-85A0-F4A8F12328C9}"/>
              </a:ext>
            </a:extLst>
          </p:cNvPr>
          <p:cNvSpPr/>
          <p:nvPr/>
        </p:nvSpPr>
        <p:spPr>
          <a:xfrm>
            <a:off x="3597131" y="3575702"/>
            <a:ext cx="5318269" cy="25007"/>
          </a:xfrm>
          <a:prstGeom prst="roundRect">
            <a:avLst>
              <a:gd name="adj" fmla="val 1285"/>
            </a:avLst>
          </a:prstGeom>
          <a:solidFill>
            <a:srgbClr val="4571B6"/>
          </a:solidFill>
          <a:ln w="3936" cap="flat">
            <a:noFill/>
            <a:prstDash val="solid"/>
            <a:miter/>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3" tIns="41476" rIns="82953" bIns="41476" numCol="1" spcCol="0" rtlCol="0" fromWordArt="0" anchor="ctr" anchorCtr="0" forceAA="0" compatLnSpc="1">
            <a:prstTxWarp prst="textNoShape">
              <a:avLst/>
            </a:prstTxWarp>
            <a:noAutofit/>
          </a:bodyPr>
          <a:lstStyle/>
          <a:p>
            <a:pPr marL="0" marR="0" lvl="0" indent="0" algn="l" defTabSz="457200" eaLnBrk="1" fontAlgn="auto" latinLnBrk="0" hangingPunct="1">
              <a:spcBef>
                <a:spcPts val="0"/>
              </a:spcBef>
              <a:spcAft>
                <a:spcPts val="0"/>
              </a:spcAft>
              <a:buClrTx/>
              <a:buSzTx/>
              <a:buFontTx/>
              <a:buNone/>
              <a:tabLst/>
              <a:defRPr/>
            </a:pPr>
            <a:endParaRPr kumimoji="0" lang="en-GB" sz="2000" b="0" i="0" u="none" strike="noStrike" kern="1200" cap="none" normalizeH="0" baseline="0" noProof="0" err="1">
              <a:ln>
                <a:noFill/>
              </a:ln>
              <a:solidFill>
                <a:srgbClr val="222222"/>
              </a:solidFill>
              <a:effectLst/>
              <a:uLnTx/>
              <a:uFillTx/>
              <a:latin typeface="Neue Haas Grotesk Text Pro" panose="020B0504020202020204" pitchFamily="34" charset="0"/>
            </a:endParaRPr>
          </a:p>
        </p:txBody>
      </p:sp>
      <p:sp>
        <p:nvSpPr>
          <p:cNvPr id="18" name="Content Placeholder 6">
            <a:extLst>
              <a:ext uri="{FF2B5EF4-FFF2-40B4-BE49-F238E27FC236}">
                <a16:creationId xmlns:a16="http://schemas.microsoft.com/office/drawing/2014/main" id="{2567E4FC-357E-298F-B3BF-2B1D76D16A23}"/>
              </a:ext>
            </a:extLst>
          </p:cNvPr>
          <p:cNvSpPr txBox="1">
            <a:spLocks/>
          </p:cNvSpPr>
          <p:nvPr/>
        </p:nvSpPr>
        <p:spPr>
          <a:xfrm>
            <a:off x="3635231" y="3916682"/>
            <a:ext cx="4238294" cy="559127"/>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500"/>
              </a:spcBef>
              <a:spcAft>
                <a:spcPts val="200"/>
              </a:spcAft>
              <a:buClr>
                <a:schemeClr val="accent2"/>
              </a:buClr>
              <a:buFont typeface="Arial" panose="020B0604020202020204" pitchFamily="34" charset="0"/>
              <a:buChar char="•"/>
              <a:defRPr lang="en-US" sz="1600" b="0" i="0" kern="1200">
                <a:solidFill>
                  <a:schemeClr val="tx1"/>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300"/>
              </a:spcBef>
              <a:spcAft>
                <a:spcPts val="400"/>
              </a:spcAft>
              <a:buClr>
                <a:schemeClr val="accent2"/>
              </a:buClr>
              <a:buFont typeface="Arial" panose="020B0604020202020204" pitchFamily="34" charset="0"/>
              <a:buChar char="•"/>
              <a:defRPr lang="en-US" sz="1300" b="0" i="0" kern="120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200"/>
              </a:spcBef>
              <a:spcAft>
                <a:spcPts val="500"/>
              </a:spcAft>
              <a:buClr>
                <a:schemeClr val="accent2"/>
              </a:buClr>
              <a:buFont typeface="Arial" panose="020B0604020202020204" pitchFamily="34" charset="0"/>
              <a:buChar char="•"/>
              <a:defRPr lang="en-US" sz="900" b="0" i="0" kern="120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37160" indent="-137160">
              <a:spcBef>
                <a:spcPts val="0"/>
              </a:spcBef>
              <a:buClr>
                <a:srgbClr val="CC0000"/>
              </a:buClr>
              <a:defRPr/>
            </a:pPr>
            <a:r>
              <a:rPr lang="en-US" sz="1100" dirty="0">
                <a:solidFill>
                  <a:srgbClr val="222222"/>
                </a:solidFill>
                <a:latin typeface="Neue Haas Grotesk Text Pro" panose="020B0504020202020204" pitchFamily="34" charset="0"/>
              </a:rPr>
              <a:t>Finalize service classes and capabilities</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Document operational savings</a:t>
            </a:r>
          </a:p>
          <a:p>
            <a:pPr marL="137160" indent="-137160">
              <a:spcBef>
                <a:spcPts val="0"/>
              </a:spcBef>
              <a:buClr>
                <a:srgbClr val="CC0000"/>
              </a:buClr>
              <a:defRPr/>
            </a:pPr>
            <a:r>
              <a:rPr lang="en-US" sz="1100" dirty="0">
                <a:solidFill>
                  <a:srgbClr val="222222"/>
                </a:solidFill>
                <a:latin typeface="Neue Haas Grotesk Text Pro" panose="020B0504020202020204" pitchFamily="34" charset="0"/>
              </a:rPr>
              <a:t>Calculate operational labor reduction due to automation</a:t>
            </a:r>
          </a:p>
        </p:txBody>
      </p:sp>
      <p:sp>
        <p:nvSpPr>
          <p:cNvPr id="19" name="TextBox 18">
            <a:extLst>
              <a:ext uri="{FF2B5EF4-FFF2-40B4-BE49-F238E27FC236}">
                <a16:creationId xmlns:a16="http://schemas.microsoft.com/office/drawing/2014/main" id="{E0BE9389-FE8C-6736-0243-BA292918540B}"/>
              </a:ext>
            </a:extLst>
          </p:cNvPr>
          <p:cNvSpPr txBox="1"/>
          <p:nvPr/>
        </p:nvSpPr>
        <p:spPr>
          <a:xfrm>
            <a:off x="3635231" y="3671331"/>
            <a:ext cx="4238294" cy="215444"/>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defTabSz="457200" eaLnBrk="1" fontAlgn="auto" latinLnBrk="0" hangingPunct="1">
              <a:lnSpc>
                <a:spcPct val="100000"/>
              </a:lnSpc>
              <a:spcBef>
                <a:spcPts val="0"/>
              </a:spcBef>
              <a:spcAft>
                <a:spcPts val="600"/>
              </a:spcAft>
              <a:buClrTx/>
              <a:buSzTx/>
              <a:buFontTx/>
              <a:buNone/>
              <a:tabLst/>
              <a:defRPr/>
            </a:pPr>
            <a:r>
              <a:rPr kumimoji="0" lang="en-US" b="1" i="0" u="none" strike="noStrike" kern="1200" cap="none" spc="0" normalizeH="0" baseline="0" noProof="0">
                <a:ln>
                  <a:noFill/>
                </a:ln>
                <a:solidFill>
                  <a:srgbClr val="4571B6"/>
                </a:solidFill>
                <a:effectLst/>
                <a:uLnTx/>
                <a:uFillTx/>
                <a:latin typeface="Neue Haas Grotesk Text Pro" panose="020B0504020202020204" pitchFamily="34" charset="0"/>
              </a:rPr>
              <a:t>HITACHI VANTARA</a:t>
            </a:r>
          </a:p>
        </p:txBody>
      </p:sp>
      <p:sp>
        <p:nvSpPr>
          <p:cNvPr id="21" name="Freeform: Shape 20">
            <a:extLst>
              <a:ext uri="{FF2B5EF4-FFF2-40B4-BE49-F238E27FC236}">
                <a16:creationId xmlns:a16="http://schemas.microsoft.com/office/drawing/2014/main" id="{0D9C0C35-B49B-050B-0E3E-8A79ACE8F4B2}"/>
              </a:ext>
            </a:extLst>
          </p:cNvPr>
          <p:cNvSpPr/>
          <p:nvPr/>
        </p:nvSpPr>
        <p:spPr>
          <a:xfrm>
            <a:off x="1174659" y="1204077"/>
            <a:ext cx="1374301" cy="1374302"/>
          </a:xfrm>
          <a:custGeom>
            <a:avLst/>
            <a:gdLst>
              <a:gd name="connsiteX0" fmla="*/ 0 w 975436"/>
              <a:gd name="connsiteY0" fmla="*/ 487718 h 975436"/>
              <a:gd name="connsiteX1" fmla="*/ 487718 w 975436"/>
              <a:gd name="connsiteY1" fmla="*/ 0 h 975436"/>
              <a:gd name="connsiteX2" fmla="*/ 975436 w 975436"/>
              <a:gd name="connsiteY2" fmla="*/ 487718 h 975436"/>
              <a:gd name="connsiteX3" fmla="*/ 487718 w 975436"/>
              <a:gd name="connsiteY3" fmla="*/ 975436 h 975436"/>
              <a:gd name="connsiteX4" fmla="*/ 0 w 975436"/>
              <a:gd name="connsiteY4" fmla="*/ 487718 h 975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36" h="975436">
                <a:moveTo>
                  <a:pt x="0" y="487718"/>
                </a:moveTo>
                <a:cubicBezTo>
                  <a:pt x="0" y="218359"/>
                  <a:pt x="218359" y="0"/>
                  <a:pt x="487718" y="0"/>
                </a:cubicBezTo>
                <a:cubicBezTo>
                  <a:pt x="757077" y="0"/>
                  <a:pt x="975436" y="218359"/>
                  <a:pt x="975436" y="487718"/>
                </a:cubicBezTo>
                <a:cubicBezTo>
                  <a:pt x="975436" y="757077"/>
                  <a:pt x="757077" y="975436"/>
                  <a:pt x="487718" y="975436"/>
                </a:cubicBezTo>
                <a:cubicBezTo>
                  <a:pt x="218359" y="975436"/>
                  <a:pt x="0" y="757077"/>
                  <a:pt x="0" y="487718"/>
                </a:cubicBezTo>
                <a:close/>
              </a:path>
            </a:pathLst>
          </a:custGeom>
          <a:solidFill>
            <a:schemeClr val="accent3">
              <a:alpha val="69000"/>
            </a:schemeClr>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184" tIns="548640" rIns="156184" bIns="156184" numCol="1" spcCol="1270" anchor="t"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a:ln>
                  <a:noFill/>
                </a:ln>
                <a:solidFill>
                  <a:schemeClr val="bg1"/>
                </a:solidFill>
                <a:effectLst/>
                <a:uLnTx/>
                <a:uFillTx/>
                <a:latin typeface="Neue Haas Grotesk Text Pro" panose="020B0504020202020204" pitchFamily="34" charset="0"/>
                <a:ea typeface="+mn-ea"/>
                <a:cs typeface="+mn-cs"/>
              </a:rPr>
              <a:t>HC² Sales PODS</a:t>
            </a:r>
          </a:p>
        </p:txBody>
      </p:sp>
      <p:sp>
        <p:nvSpPr>
          <p:cNvPr id="22" name="Freeform: Shape 21">
            <a:extLst>
              <a:ext uri="{FF2B5EF4-FFF2-40B4-BE49-F238E27FC236}">
                <a16:creationId xmlns:a16="http://schemas.microsoft.com/office/drawing/2014/main" id="{4B7038D6-AF42-D1AD-D8DE-B0407C7C888A}"/>
              </a:ext>
            </a:extLst>
          </p:cNvPr>
          <p:cNvSpPr/>
          <p:nvPr/>
        </p:nvSpPr>
        <p:spPr>
          <a:xfrm>
            <a:off x="2164137" y="3062180"/>
            <a:ext cx="1374301" cy="1374302"/>
          </a:xfrm>
          <a:custGeom>
            <a:avLst/>
            <a:gdLst>
              <a:gd name="connsiteX0" fmla="*/ 0 w 975436"/>
              <a:gd name="connsiteY0" fmla="*/ 487718 h 975436"/>
              <a:gd name="connsiteX1" fmla="*/ 487718 w 975436"/>
              <a:gd name="connsiteY1" fmla="*/ 0 h 975436"/>
              <a:gd name="connsiteX2" fmla="*/ 975436 w 975436"/>
              <a:gd name="connsiteY2" fmla="*/ 487718 h 975436"/>
              <a:gd name="connsiteX3" fmla="*/ 487718 w 975436"/>
              <a:gd name="connsiteY3" fmla="*/ 975436 h 975436"/>
              <a:gd name="connsiteX4" fmla="*/ 0 w 975436"/>
              <a:gd name="connsiteY4" fmla="*/ 487718 h 975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36" h="975436">
                <a:moveTo>
                  <a:pt x="0" y="487718"/>
                </a:moveTo>
                <a:cubicBezTo>
                  <a:pt x="0" y="218359"/>
                  <a:pt x="218359" y="0"/>
                  <a:pt x="487718" y="0"/>
                </a:cubicBezTo>
                <a:cubicBezTo>
                  <a:pt x="757077" y="0"/>
                  <a:pt x="975436" y="218359"/>
                  <a:pt x="975436" y="487718"/>
                </a:cubicBezTo>
                <a:cubicBezTo>
                  <a:pt x="975436" y="757077"/>
                  <a:pt x="757077" y="975436"/>
                  <a:pt x="487718" y="975436"/>
                </a:cubicBezTo>
                <a:cubicBezTo>
                  <a:pt x="218359" y="975436"/>
                  <a:pt x="0" y="757077"/>
                  <a:pt x="0" y="487718"/>
                </a:cubicBezTo>
                <a:close/>
              </a:path>
            </a:pathLst>
          </a:custGeom>
          <a:solidFill>
            <a:srgbClr val="83C3ED"/>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184" tIns="548640" rIns="156184" bIns="156184" numCol="1" spcCol="1270" anchor="t"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en-US" sz="1400" b="1" i="0" u="none" strike="noStrike" kern="1200" cap="none" spc="0" normalizeH="0" baseline="0" noProof="0">
                <a:ln>
                  <a:noFill/>
                </a:ln>
                <a:solidFill>
                  <a:schemeClr val="tx1"/>
                </a:solidFill>
                <a:effectLst/>
                <a:uLnTx/>
                <a:uFillTx/>
                <a:latin typeface="Neue Haas Grotesk Text Pro" panose="020B0504020202020204" pitchFamily="34" charset="0"/>
                <a:ea typeface="+mn-ea"/>
                <a:cs typeface="+mn-cs"/>
              </a:rPr>
              <a:t>CISCO </a:t>
            </a:r>
            <a:br>
              <a:rPr kumimoji="0" lang="en-US" sz="1400" b="1" i="0" u="none" strike="noStrike" kern="1200" cap="none" spc="0" normalizeH="0" baseline="0" noProof="0">
                <a:ln>
                  <a:noFill/>
                </a:ln>
                <a:solidFill>
                  <a:schemeClr val="tx1"/>
                </a:solidFill>
                <a:effectLst/>
                <a:uLnTx/>
                <a:uFillTx/>
                <a:latin typeface="Neue Haas Grotesk Text Pro" panose="020B0504020202020204" pitchFamily="34" charset="0"/>
                <a:ea typeface="+mn-ea"/>
                <a:cs typeface="+mn-cs"/>
              </a:rPr>
            </a:br>
            <a:r>
              <a:rPr kumimoji="0" lang="en-US" sz="1400" b="1" i="0" u="none" strike="noStrike" kern="1200" cap="none" spc="0" normalizeH="0" baseline="0" noProof="0">
                <a:ln>
                  <a:noFill/>
                </a:ln>
                <a:solidFill>
                  <a:schemeClr val="tx1"/>
                </a:solidFill>
                <a:effectLst/>
                <a:uLnTx/>
                <a:uFillTx/>
                <a:latin typeface="Neue Haas Grotesk Text Pro" panose="020B0504020202020204" pitchFamily="34" charset="0"/>
                <a:ea typeface="+mn-ea"/>
                <a:cs typeface="+mn-cs"/>
              </a:rPr>
              <a:t>Data Center Sales</a:t>
            </a:r>
          </a:p>
        </p:txBody>
      </p:sp>
      <p:sp>
        <p:nvSpPr>
          <p:cNvPr id="23" name="Freeform: Shape 22">
            <a:extLst>
              <a:ext uri="{FF2B5EF4-FFF2-40B4-BE49-F238E27FC236}">
                <a16:creationId xmlns:a16="http://schemas.microsoft.com/office/drawing/2014/main" id="{6B581CD5-03A8-214A-5C6F-C20ADDD51678}"/>
              </a:ext>
            </a:extLst>
          </p:cNvPr>
          <p:cNvSpPr/>
          <p:nvPr/>
        </p:nvSpPr>
        <p:spPr>
          <a:xfrm>
            <a:off x="202688" y="3062179"/>
            <a:ext cx="1374302" cy="1374303"/>
          </a:xfrm>
          <a:custGeom>
            <a:avLst/>
            <a:gdLst>
              <a:gd name="connsiteX0" fmla="*/ 0 w 975436"/>
              <a:gd name="connsiteY0" fmla="*/ 487718 h 975436"/>
              <a:gd name="connsiteX1" fmla="*/ 487718 w 975436"/>
              <a:gd name="connsiteY1" fmla="*/ 0 h 975436"/>
              <a:gd name="connsiteX2" fmla="*/ 975436 w 975436"/>
              <a:gd name="connsiteY2" fmla="*/ 487718 h 975436"/>
              <a:gd name="connsiteX3" fmla="*/ 487718 w 975436"/>
              <a:gd name="connsiteY3" fmla="*/ 975436 h 975436"/>
              <a:gd name="connsiteX4" fmla="*/ 0 w 975436"/>
              <a:gd name="connsiteY4" fmla="*/ 487718 h 975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36" h="975436">
                <a:moveTo>
                  <a:pt x="0" y="487718"/>
                </a:moveTo>
                <a:cubicBezTo>
                  <a:pt x="0" y="218359"/>
                  <a:pt x="218359" y="0"/>
                  <a:pt x="487718" y="0"/>
                </a:cubicBezTo>
                <a:cubicBezTo>
                  <a:pt x="757077" y="0"/>
                  <a:pt x="975436" y="218359"/>
                  <a:pt x="975436" y="487718"/>
                </a:cubicBezTo>
                <a:cubicBezTo>
                  <a:pt x="975436" y="757077"/>
                  <a:pt x="757077" y="975436"/>
                  <a:pt x="487718" y="975436"/>
                </a:cubicBezTo>
                <a:cubicBezTo>
                  <a:pt x="218359" y="975436"/>
                  <a:pt x="0" y="757077"/>
                  <a:pt x="0" y="487718"/>
                </a:cubicBezTo>
                <a:close/>
              </a:path>
            </a:pathLst>
          </a:custGeom>
          <a:solidFill>
            <a:schemeClr val="accent4"/>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184" tIns="548640" rIns="156184" bIns="156184" numCol="1" spcCol="1270" anchor="t"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r>
              <a:rPr kumimoji="0" lang="en-GB" sz="1400" b="1" i="0" u="none" strike="noStrike" kern="1200" cap="none" spc="0" normalizeH="0" baseline="0" noProof="0">
                <a:ln>
                  <a:noFill/>
                </a:ln>
                <a:solidFill>
                  <a:schemeClr val="bg1"/>
                </a:solidFill>
                <a:effectLst/>
                <a:uLnTx/>
                <a:uFillTx/>
                <a:latin typeface="Neue Haas Grotesk Text Pro" panose="020B0504020202020204" pitchFamily="34" charset="0"/>
                <a:ea typeface="+mn-ea"/>
                <a:cs typeface="+mn-cs"/>
              </a:rPr>
              <a:t>Hitachi Field AM's</a:t>
            </a:r>
            <a:endParaRPr kumimoji="0" lang="en-AE" sz="1400" b="1" i="0" u="none" strike="noStrike" kern="1200" cap="none" spc="0" normalizeH="0" baseline="0" noProof="0">
              <a:ln>
                <a:noFill/>
              </a:ln>
              <a:solidFill>
                <a:schemeClr val="bg1"/>
              </a:solidFill>
              <a:effectLst/>
              <a:uLnTx/>
              <a:uFillTx/>
              <a:latin typeface="Neue Haas Grotesk Text Pro" panose="020B0504020202020204" pitchFamily="34" charset="0"/>
              <a:ea typeface="+mn-ea"/>
              <a:cs typeface="+mn-cs"/>
            </a:endParaRPr>
          </a:p>
        </p:txBody>
      </p:sp>
      <p:sp>
        <p:nvSpPr>
          <p:cNvPr id="24" name="Freeform: Shape 23">
            <a:extLst>
              <a:ext uri="{FF2B5EF4-FFF2-40B4-BE49-F238E27FC236}">
                <a16:creationId xmlns:a16="http://schemas.microsoft.com/office/drawing/2014/main" id="{31978792-C8C7-1191-B731-3D3EFF94A541}"/>
              </a:ext>
            </a:extLst>
          </p:cNvPr>
          <p:cNvSpPr/>
          <p:nvPr/>
        </p:nvSpPr>
        <p:spPr>
          <a:xfrm>
            <a:off x="1250859" y="2452338"/>
            <a:ext cx="1239407" cy="1239408"/>
          </a:xfrm>
          <a:custGeom>
            <a:avLst/>
            <a:gdLst>
              <a:gd name="connsiteX0" fmla="*/ 0 w 975436"/>
              <a:gd name="connsiteY0" fmla="*/ 487718 h 975436"/>
              <a:gd name="connsiteX1" fmla="*/ 487718 w 975436"/>
              <a:gd name="connsiteY1" fmla="*/ 0 h 975436"/>
              <a:gd name="connsiteX2" fmla="*/ 975436 w 975436"/>
              <a:gd name="connsiteY2" fmla="*/ 487718 h 975436"/>
              <a:gd name="connsiteX3" fmla="*/ 487718 w 975436"/>
              <a:gd name="connsiteY3" fmla="*/ 975436 h 975436"/>
              <a:gd name="connsiteX4" fmla="*/ 0 w 975436"/>
              <a:gd name="connsiteY4" fmla="*/ 487718 h 975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436" h="975436">
                <a:moveTo>
                  <a:pt x="0" y="487718"/>
                </a:moveTo>
                <a:cubicBezTo>
                  <a:pt x="0" y="218359"/>
                  <a:pt x="218359" y="0"/>
                  <a:pt x="487718" y="0"/>
                </a:cubicBezTo>
                <a:cubicBezTo>
                  <a:pt x="757077" y="0"/>
                  <a:pt x="975436" y="218359"/>
                  <a:pt x="975436" y="487718"/>
                </a:cubicBezTo>
                <a:cubicBezTo>
                  <a:pt x="975436" y="757077"/>
                  <a:pt x="757077" y="975436"/>
                  <a:pt x="487718" y="975436"/>
                </a:cubicBezTo>
                <a:cubicBezTo>
                  <a:pt x="218359" y="975436"/>
                  <a:pt x="0" y="757077"/>
                  <a:pt x="0" y="487718"/>
                </a:cubicBezTo>
                <a:close/>
              </a:path>
            </a:pathLst>
          </a:custGeom>
          <a:solidFill>
            <a:schemeClr val="tx1">
              <a:alpha val="76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184" tIns="156184" rIns="156184" bIns="156184" numCol="1" spcCol="1270" anchor="ctr" anchorCtr="0">
            <a:noAutofit/>
          </a:bodyPr>
          <a:lstStyle/>
          <a:p>
            <a:pPr marL="0" marR="0" lvl="0" indent="0" algn="ctr" defTabSz="914400" eaLnBrk="1" fontAlgn="auto" latinLnBrk="0" hangingPunct="1">
              <a:lnSpc>
                <a:spcPct val="100000"/>
              </a:lnSpc>
              <a:spcBef>
                <a:spcPts val="0"/>
              </a:spcBef>
              <a:spcAft>
                <a:spcPts val="800"/>
              </a:spcAft>
              <a:buClrTx/>
              <a:buSzTx/>
              <a:buFontTx/>
              <a:buNone/>
              <a:tabLst/>
              <a:defRPr/>
            </a:pPr>
            <a:b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br>
            <a: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Partners</a:t>
            </a:r>
          </a:p>
        </p:txBody>
      </p:sp>
      <p:pic>
        <p:nvPicPr>
          <p:cNvPr id="25" name="Graphic 24">
            <a:extLst>
              <a:ext uri="{FF2B5EF4-FFF2-40B4-BE49-F238E27FC236}">
                <a16:creationId xmlns:a16="http://schemas.microsoft.com/office/drawing/2014/main" id="{66A805AE-D269-D6FE-71B7-45736F30A40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96460" y="2641784"/>
            <a:ext cx="378773" cy="378773"/>
          </a:xfrm>
          <a:prstGeom prst="rect">
            <a:avLst/>
          </a:prstGeom>
        </p:spPr>
      </p:pic>
      <p:pic>
        <p:nvPicPr>
          <p:cNvPr id="26" name="Graphic 25">
            <a:extLst>
              <a:ext uri="{FF2B5EF4-FFF2-40B4-BE49-F238E27FC236}">
                <a16:creationId xmlns:a16="http://schemas.microsoft.com/office/drawing/2014/main" id="{A0CCB3F1-FC07-7E61-EA71-08F3CF9985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80834" y="1306321"/>
            <a:ext cx="361950" cy="361950"/>
          </a:xfrm>
          <a:prstGeom prst="rect">
            <a:avLst/>
          </a:prstGeom>
        </p:spPr>
      </p:pic>
      <p:pic>
        <p:nvPicPr>
          <p:cNvPr id="27" name="Graphic 26">
            <a:extLst>
              <a:ext uri="{FF2B5EF4-FFF2-40B4-BE49-F238E27FC236}">
                <a16:creationId xmlns:a16="http://schemas.microsoft.com/office/drawing/2014/main" id="{874CA0C0-4974-7AA1-0549-6070CAE3AE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70312" y="3173410"/>
            <a:ext cx="361950" cy="361950"/>
          </a:xfrm>
          <a:prstGeom prst="rect">
            <a:avLst/>
          </a:prstGeom>
        </p:spPr>
      </p:pic>
      <p:pic>
        <p:nvPicPr>
          <p:cNvPr id="81" name="Graphic 80">
            <a:extLst>
              <a:ext uri="{FF2B5EF4-FFF2-40B4-BE49-F238E27FC236}">
                <a16:creationId xmlns:a16="http://schemas.microsoft.com/office/drawing/2014/main" id="{A53A245D-DC76-E307-A3F8-0AE7B22C20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0452" y="3158979"/>
            <a:ext cx="378773" cy="378773"/>
          </a:xfrm>
          <a:prstGeom prst="rect">
            <a:avLst/>
          </a:prstGeom>
        </p:spPr>
      </p:pic>
      <p:pic>
        <p:nvPicPr>
          <p:cNvPr id="82" name="Picture 81" descr="A red and white logo&#10;&#10;Description automatically generated">
            <a:extLst>
              <a:ext uri="{FF2B5EF4-FFF2-40B4-BE49-F238E27FC236}">
                <a16:creationId xmlns:a16="http://schemas.microsoft.com/office/drawing/2014/main" id="{91C73B27-D85F-F1E6-3EEA-03412067FACA}"/>
              </a:ext>
            </a:extLst>
          </p:cNvPr>
          <p:cNvPicPr>
            <a:picLocks noChangeAspect="1"/>
          </p:cNvPicPr>
          <p:nvPr/>
        </p:nvPicPr>
        <p:blipFill>
          <a:blip r:embed="rId10" cstate="email">
            <a:clrChange>
              <a:clrFrom>
                <a:srgbClr val="CC0000"/>
              </a:clrFrom>
              <a:clrTo>
                <a:srgbClr val="CC0000">
                  <a:alpha val="0"/>
                </a:srgbClr>
              </a:clrTo>
            </a:clrChange>
            <a:extLst>
              <a:ext uri="{28A0092B-C50C-407E-A947-70E740481C1C}">
                <a14:useLocalDpi xmlns:a14="http://schemas.microsoft.com/office/drawing/2010/main"/>
              </a:ext>
            </a:extLst>
          </a:blip>
          <a:stretch>
            <a:fillRect/>
          </a:stretch>
        </p:blipFill>
        <p:spPr>
          <a:xfrm>
            <a:off x="7783749" y="1330761"/>
            <a:ext cx="862505" cy="862505"/>
          </a:xfrm>
          <a:prstGeom prst="rect">
            <a:avLst/>
          </a:prstGeom>
          <a:solidFill>
            <a:schemeClr val="tx1"/>
          </a:solidFill>
        </p:spPr>
      </p:pic>
      <p:pic>
        <p:nvPicPr>
          <p:cNvPr id="83" name="Graphic 82">
            <a:extLst>
              <a:ext uri="{FF2B5EF4-FFF2-40B4-BE49-F238E27FC236}">
                <a16:creationId xmlns:a16="http://schemas.microsoft.com/office/drawing/2014/main" id="{2D333E5E-BC58-055F-CC3C-3B07F8C065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60589" y="2591419"/>
            <a:ext cx="1308824" cy="712814"/>
          </a:xfrm>
          <a:prstGeom prst="rect">
            <a:avLst/>
          </a:prstGeom>
        </p:spPr>
      </p:pic>
      <p:pic>
        <p:nvPicPr>
          <p:cNvPr id="84" name="Picture 83" descr="A red and white logo&#10;&#10;Description automatically generated">
            <a:extLst>
              <a:ext uri="{FF2B5EF4-FFF2-40B4-BE49-F238E27FC236}">
                <a16:creationId xmlns:a16="http://schemas.microsoft.com/office/drawing/2014/main" id="{DED02D59-D6E8-60F2-0D41-81EBAC127746}"/>
              </a:ext>
            </a:extLst>
          </p:cNvPr>
          <p:cNvPicPr>
            <a:picLocks noChangeAspect="1"/>
          </p:cNvPicPr>
          <p:nvPr/>
        </p:nvPicPr>
        <p:blipFill>
          <a:blip r:embed="rId10" cstate="email">
            <a:clrChange>
              <a:clrFrom>
                <a:srgbClr val="CC0000"/>
              </a:clrFrom>
              <a:clrTo>
                <a:srgbClr val="CC0000">
                  <a:alpha val="0"/>
                </a:srgbClr>
              </a:clrTo>
            </a:clrChange>
            <a:extLst>
              <a:ext uri="{28A0092B-C50C-407E-A947-70E740481C1C}">
                <a14:useLocalDpi xmlns:a14="http://schemas.microsoft.com/office/drawing/2010/main"/>
              </a:ext>
            </a:extLst>
          </a:blip>
          <a:stretch>
            <a:fillRect/>
          </a:stretch>
        </p:blipFill>
        <p:spPr>
          <a:xfrm>
            <a:off x="7783749" y="3702386"/>
            <a:ext cx="862505" cy="862505"/>
          </a:xfrm>
          <a:prstGeom prst="rect">
            <a:avLst/>
          </a:prstGeom>
          <a:solidFill>
            <a:schemeClr val="tx1"/>
          </a:solidFill>
        </p:spPr>
      </p:pic>
    </p:spTree>
    <p:extLst>
      <p:ext uri="{BB962C8B-B14F-4D97-AF65-F5344CB8AC3E}">
        <p14:creationId xmlns:p14="http://schemas.microsoft.com/office/powerpoint/2010/main" val="37912055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891C-922A-C298-8066-A2D6BEB99B26}"/>
              </a:ext>
            </a:extLst>
          </p:cNvPr>
          <p:cNvSpPr>
            <a:spLocks noGrp="1"/>
          </p:cNvSpPr>
          <p:nvPr>
            <p:ph type="title"/>
          </p:nvPr>
        </p:nvSpPr>
        <p:spPr/>
        <p:txBody>
          <a:bodyPr/>
          <a:lstStyle/>
          <a:p>
            <a:r>
              <a:rPr lang="en-GB"/>
              <a:t>Ease of Doing Business</a:t>
            </a:r>
            <a:br>
              <a:rPr lang="en-GB"/>
            </a:br>
            <a:r>
              <a:rPr lang="en-GB" sz="1600"/>
              <a:t>Partner Enabled and Channel Ready</a:t>
            </a:r>
            <a:endParaRPr lang="en-US"/>
          </a:p>
        </p:txBody>
      </p:sp>
      <p:sp>
        <p:nvSpPr>
          <p:cNvPr id="3" name="Rectangle 2">
            <a:extLst>
              <a:ext uri="{FF2B5EF4-FFF2-40B4-BE49-F238E27FC236}">
                <a16:creationId xmlns:a16="http://schemas.microsoft.com/office/drawing/2014/main" id="{A814D32A-5C15-713D-7F21-E1926F6E0AE5}"/>
              </a:ext>
            </a:extLst>
          </p:cNvPr>
          <p:cNvSpPr/>
          <p:nvPr/>
        </p:nvSpPr>
        <p:spPr>
          <a:xfrm>
            <a:off x="4639088" y="1766593"/>
            <a:ext cx="1438406" cy="1724332"/>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1100" b="1"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mn-cs"/>
            </a:endParaRPr>
          </a:p>
        </p:txBody>
      </p:sp>
      <p:sp>
        <p:nvSpPr>
          <p:cNvPr id="4" name="Rectangle 3">
            <a:extLst>
              <a:ext uri="{FF2B5EF4-FFF2-40B4-BE49-F238E27FC236}">
                <a16:creationId xmlns:a16="http://schemas.microsoft.com/office/drawing/2014/main" id="{A2567954-0221-E9CC-BD1F-EA1530C86A6B}"/>
              </a:ext>
            </a:extLst>
          </p:cNvPr>
          <p:cNvSpPr/>
          <p:nvPr/>
        </p:nvSpPr>
        <p:spPr>
          <a:xfrm>
            <a:off x="6874981" y="1766593"/>
            <a:ext cx="1438406" cy="1724332"/>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8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endParaRPr>
          </a:p>
        </p:txBody>
      </p:sp>
      <p:sp>
        <p:nvSpPr>
          <p:cNvPr id="5" name="TextBox 4">
            <a:extLst>
              <a:ext uri="{FF2B5EF4-FFF2-40B4-BE49-F238E27FC236}">
                <a16:creationId xmlns:a16="http://schemas.microsoft.com/office/drawing/2014/main" id="{24398E7A-8297-F44B-F50C-744C4BDE4475}"/>
              </a:ext>
            </a:extLst>
          </p:cNvPr>
          <p:cNvSpPr txBox="1"/>
          <p:nvPr/>
        </p:nvSpPr>
        <p:spPr>
          <a:xfrm>
            <a:off x="-8596" y="863473"/>
            <a:ext cx="8896349" cy="630942"/>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GB" sz="1600" b="1" i="0" u="none" strike="noStrike" kern="1200" cap="none" spc="0" normalizeH="0" baseline="0" noProof="0" dirty="0">
                <a:ln>
                  <a:noFill/>
                </a:ln>
                <a:solidFill>
                  <a:srgbClr val="4571B6"/>
                </a:solidFill>
                <a:effectLst/>
                <a:uLnTx/>
                <a:uFillTx/>
                <a:latin typeface="Neue Haas Grotesk Text Pro" panose="020B0504020202020204" pitchFamily="34" charset="77"/>
                <a:ea typeface="+mn-ea"/>
                <a:cs typeface="Times New Roman" panose="02020603050405020304" pitchFamily="18" charset="0"/>
              </a:rPr>
              <a:t> </a:t>
            </a:r>
            <a:r>
              <a:rPr kumimoji="0" lang="en-GB" sz="2000" b="1" i="0" u="none" strike="noStrike" kern="1200" cap="none" spc="0" normalizeH="0" baseline="0" noProof="0" dirty="0">
                <a:ln>
                  <a:noFill/>
                </a:ln>
                <a:solidFill>
                  <a:srgbClr val="4571B6"/>
                </a:solidFill>
                <a:effectLst/>
                <a:uLnTx/>
                <a:uFillTx/>
                <a:latin typeface="Neue Haas Grotesk Text Pro" panose="020B0504020202020204" pitchFamily="34" charset="77"/>
                <a:ea typeface="+mn-ea"/>
                <a:cs typeface="Times New Roman" panose="02020603050405020304" pitchFamily="18" charset="0"/>
              </a:rPr>
              <a:t>Partner process simplified to offer customers </a:t>
            </a:r>
          </a:p>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GB" sz="2000" b="1" i="0" u="none" strike="noStrike" kern="1200" cap="none" spc="0" normalizeH="0" baseline="0" noProof="0" dirty="0">
                <a:ln>
                  <a:noFill/>
                </a:ln>
                <a:solidFill>
                  <a:srgbClr val="4571B6"/>
                </a:solidFill>
                <a:effectLst/>
                <a:uLnTx/>
                <a:uFillTx/>
                <a:latin typeface="Neue Haas Grotesk Text Pro" panose="020B0504020202020204" pitchFamily="34" charset="77"/>
                <a:ea typeface="+mn-ea"/>
                <a:cs typeface="Times New Roman" panose="02020603050405020304" pitchFamily="18" charset="0"/>
              </a:rPr>
              <a:t>integrated services and solutions</a:t>
            </a:r>
          </a:p>
        </p:txBody>
      </p:sp>
      <p:grpSp>
        <p:nvGrpSpPr>
          <p:cNvPr id="6" name="Group 5">
            <a:extLst>
              <a:ext uri="{FF2B5EF4-FFF2-40B4-BE49-F238E27FC236}">
                <a16:creationId xmlns:a16="http://schemas.microsoft.com/office/drawing/2014/main" id="{CAFAAA7C-440C-1F6D-1462-83159B4FC6C7}"/>
              </a:ext>
            </a:extLst>
          </p:cNvPr>
          <p:cNvGrpSpPr/>
          <p:nvPr/>
        </p:nvGrpSpPr>
        <p:grpSpPr>
          <a:xfrm>
            <a:off x="1972881" y="1608981"/>
            <a:ext cx="1507453" cy="2521903"/>
            <a:chOff x="261620" y="1533524"/>
            <a:chExt cx="1701445" cy="2521903"/>
          </a:xfrm>
        </p:grpSpPr>
        <p:sp>
          <p:nvSpPr>
            <p:cNvPr id="7" name="Rectangle: Rounded Corners 30">
              <a:extLst>
                <a:ext uri="{FF2B5EF4-FFF2-40B4-BE49-F238E27FC236}">
                  <a16:creationId xmlns:a16="http://schemas.microsoft.com/office/drawing/2014/main" id="{239BCEBE-53EF-3E7C-07C0-88DE3FE4AC4E}"/>
                </a:ext>
              </a:extLst>
            </p:cNvPr>
            <p:cNvSpPr/>
            <p:nvPr/>
          </p:nvSpPr>
          <p:spPr>
            <a:xfrm>
              <a:off x="261620" y="1533524"/>
              <a:ext cx="1701445" cy="2521903"/>
            </a:xfrm>
            <a:prstGeom prst="roundRect">
              <a:avLst>
                <a:gd name="adj" fmla="val 4367"/>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34">
              <a:extLst>
                <a:ext uri="{FF2B5EF4-FFF2-40B4-BE49-F238E27FC236}">
                  <a16:creationId xmlns:a16="http://schemas.microsoft.com/office/drawing/2014/main" id="{B8827E7E-F1CF-A769-EEDB-97279260A773}"/>
                </a:ext>
              </a:extLst>
            </p:cNvPr>
            <p:cNvSpPr/>
            <p:nvPr/>
          </p:nvSpPr>
          <p:spPr>
            <a:xfrm>
              <a:off x="261620" y="2210195"/>
              <a:ext cx="1701445" cy="355840"/>
            </a:xfrm>
            <a:prstGeom prst="roundRect">
              <a:avLst>
                <a:gd name="adj" fmla="val 4367"/>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Hitachi Vantara</a:t>
              </a:r>
            </a:p>
          </p:txBody>
        </p:sp>
        <p:sp>
          <p:nvSpPr>
            <p:cNvPr id="9" name="TextBox 8">
              <a:extLst>
                <a:ext uri="{FF2B5EF4-FFF2-40B4-BE49-F238E27FC236}">
                  <a16:creationId xmlns:a16="http://schemas.microsoft.com/office/drawing/2014/main" id="{AC20FE5F-05CD-AD0D-9ABD-732B244057F1}"/>
                </a:ext>
              </a:extLst>
            </p:cNvPr>
            <p:cNvSpPr txBox="1"/>
            <p:nvPr/>
          </p:nvSpPr>
          <p:spPr>
            <a:xfrm>
              <a:off x="314579" y="2730092"/>
              <a:ext cx="1596722" cy="129727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Partner support</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Cloud-like consumption solutioning</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Deploy &amp; D</a:t>
              </a:r>
              <a:r>
                <a:rPr kumimoji="0" lang="en-US" sz="1100" b="0" i="0" u="none" strike="noStrike" kern="1200" cap="none" spc="0" normalizeH="0" baseline="0" noProof="0" err="1">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elivery</a:t>
              </a:r>
              <a:endPar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endParaRP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Direct Sales Engagement</a:t>
              </a:r>
            </a:p>
          </p:txBody>
        </p:sp>
      </p:grpSp>
      <p:grpSp>
        <p:nvGrpSpPr>
          <p:cNvPr id="10" name="Group 9">
            <a:extLst>
              <a:ext uri="{FF2B5EF4-FFF2-40B4-BE49-F238E27FC236}">
                <a16:creationId xmlns:a16="http://schemas.microsoft.com/office/drawing/2014/main" id="{6C38F32F-F134-12F3-DB90-578382CA659F}"/>
              </a:ext>
            </a:extLst>
          </p:cNvPr>
          <p:cNvGrpSpPr/>
          <p:nvPr/>
        </p:nvGrpSpPr>
        <p:grpSpPr>
          <a:xfrm>
            <a:off x="3667604" y="1608981"/>
            <a:ext cx="1543952" cy="2485256"/>
            <a:chOff x="2566365" y="1533525"/>
            <a:chExt cx="1701446" cy="2485256"/>
          </a:xfrm>
        </p:grpSpPr>
        <p:sp>
          <p:nvSpPr>
            <p:cNvPr id="11" name="Rectangle: Rounded Corners 31">
              <a:extLst>
                <a:ext uri="{FF2B5EF4-FFF2-40B4-BE49-F238E27FC236}">
                  <a16:creationId xmlns:a16="http://schemas.microsoft.com/office/drawing/2014/main" id="{FAF740F4-CBD9-EF68-5C33-2F0678C8BFBA}"/>
                </a:ext>
              </a:extLst>
            </p:cNvPr>
            <p:cNvSpPr/>
            <p:nvPr/>
          </p:nvSpPr>
          <p:spPr>
            <a:xfrm>
              <a:off x="2566365" y="1533525"/>
              <a:ext cx="1701445" cy="2485256"/>
            </a:xfrm>
            <a:prstGeom prst="roundRect">
              <a:avLst>
                <a:gd name="adj" fmla="val 4367"/>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Rounded Corners 38">
              <a:extLst>
                <a:ext uri="{FF2B5EF4-FFF2-40B4-BE49-F238E27FC236}">
                  <a16:creationId xmlns:a16="http://schemas.microsoft.com/office/drawing/2014/main" id="{67D03291-55FE-7E08-07C4-6635D83E3907}"/>
                </a:ext>
              </a:extLst>
            </p:cNvPr>
            <p:cNvSpPr/>
            <p:nvPr/>
          </p:nvSpPr>
          <p:spPr>
            <a:xfrm>
              <a:off x="2566366" y="2210195"/>
              <a:ext cx="1701445" cy="355840"/>
            </a:xfrm>
            <a:prstGeom prst="roundRect">
              <a:avLst>
                <a:gd name="adj" fmla="val 4367"/>
              </a:avLst>
            </a:prstGeom>
            <a:solidFill>
              <a:srgbClr val="3CACB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Distributor</a:t>
              </a:r>
            </a:p>
          </p:txBody>
        </p:sp>
        <p:sp>
          <p:nvSpPr>
            <p:cNvPr id="13" name="TextBox 12">
              <a:extLst>
                <a:ext uri="{FF2B5EF4-FFF2-40B4-BE49-F238E27FC236}">
                  <a16:creationId xmlns:a16="http://schemas.microsoft.com/office/drawing/2014/main" id="{0282DE95-FD60-6998-7AD4-50881A24CAFC}"/>
                </a:ext>
              </a:extLst>
            </p:cNvPr>
            <p:cNvSpPr txBox="1"/>
            <p:nvPr/>
          </p:nvSpPr>
          <p:spPr>
            <a:xfrm>
              <a:off x="2626900" y="2717677"/>
              <a:ext cx="1589145" cy="915635"/>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Partner relationships</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Consolidated billing and credit lines</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Contract process</a:t>
              </a:r>
            </a:p>
          </p:txBody>
        </p:sp>
      </p:grpSp>
      <p:grpSp>
        <p:nvGrpSpPr>
          <p:cNvPr id="14" name="Group 13">
            <a:extLst>
              <a:ext uri="{FF2B5EF4-FFF2-40B4-BE49-F238E27FC236}">
                <a16:creationId xmlns:a16="http://schemas.microsoft.com/office/drawing/2014/main" id="{3E2080AC-E707-AFA0-EDBC-C82B9AF3C5BC}"/>
              </a:ext>
            </a:extLst>
          </p:cNvPr>
          <p:cNvGrpSpPr/>
          <p:nvPr/>
        </p:nvGrpSpPr>
        <p:grpSpPr>
          <a:xfrm>
            <a:off x="5408041" y="1627304"/>
            <a:ext cx="1531140" cy="2485256"/>
            <a:chOff x="4871110" y="1533525"/>
            <a:chExt cx="1701447" cy="2485256"/>
          </a:xfrm>
        </p:grpSpPr>
        <p:sp>
          <p:nvSpPr>
            <p:cNvPr id="15" name="Rectangle: Rounded Corners 32">
              <a:extLst>
                <a:ext uri="{FF2B5EF4-FFF2-40B4-BE49-F238E27FC236}">
                  <a16:creationId xmlns:a16="http://schemas.microsoft.com/office/drawing/2014/main" id="{8246F5E2-8967-E942-7636-968E45385E8E}"/>
                </a:ext>
              </a:extLst>
            </p:cNvPr>
            <p:cNvSpPr/>
            <p:nvPr/>
          </p:nvSpPr>
          <p:spPr>
            <a:xfrm>
              <a:off x="4871110" y="1533525"/>
              <a:ext cx="1701445" cy="2485256"/>
            </a:xfrm>
            <a:prstGeom prst="roundRect">
              <a:avLst>
                <a:gd name="adj" fmla="val 4367"/>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Rounded Corners 39">
              <a:extLst>
                <a:ext uri="{FF2B5EF4-FFF2-40B4-BE49-F238E27FC236}">
                  <a16:creationId xmlns:a16="http://schemas.microsoft.com/office/drawing/2014/main" id="{2ECF257D-1B9B-2784-D779-CA60746CBDB8}"/>
                </a:ext>
              </a:extLst>
            </p:cNvPr>
            <p:cNvSpPr/>
            <p:nvPr/>
          </p:nvSpPr>
          <p:spPr>
            <a:xfrm>
              <a:off x="4871112" y="2210195"/>
              <a:ext cx="1701445" cy="355840"/>
            </a:xfrm>
            <a:prstGeom prst="roundRect">
              <a:avLst>
                <a:gd name="adj" fmla="val 4367"/>
              </a:avLst>
            </a:prstGeom>
            <a:solidFill>
              <a:srgbClr val="AE15C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Hitachi/Cis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Partners</a:t>
              </a:r>
            </a:p>
          </p:txBody>
        </p:sp>
        <p:sp>
          <p:nvSpPr>
            <p:cNvPr id="17" name="TextBox 16">
              <a:extLst>
                <a:ext uri="{FF2B5EF4-FFF2-40B4-BE49-F238E27FC236}">
                  <a16:creationId xmlns:a16="http://schemas.microsoft.com/office/drawing/2014/main" id="{05B6E6A3-DD58-2E35-9F28-DAA8A066993A}"/>
                </a:ext>
              </a:extLst>
            </p:cNvPr>
            <p:cNvSpPr txBox="1"/>
            <p:nvPr/>
          </p:nvSpPr>
          <p:spPr>
            <a:xfrm>
              <a:off x="4922304" y="2638425"/>
              <a:ext cx="1599896" cy="1220334"/>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Manage customer relationships</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Engage and coordinate with HV and Cisco </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Augment offering with own services  </a:t>
              </a:r>
            </a:p>
          </p:txBody>
        </p:sp>
      </p:grpSp>
      <p:grpSp>
        <p:nvGrpSpPr>
          <p:cNvPr id="18" name="Group 17">
            <a:extLst>
              <a:ext uri="{FF2B5EF4-FFF2-40B4-BE49-F238E27FC236}">
                <a16:creationId xmlns:a16="http://schemas.microsoft.com/office/drawing/2014/main" id="{9603F3BD-C552-3099-9BB6-D0810E5B1D3B}"/>
              </a:ext>
            </a:extLst>
          </p:cNvPr>
          <p:cNvGrpSpPr/>
          <p:nvPr/>
        </p:nvGrpSpPr>
        <p:grpSpPr>
          <a:xfrm>
            <a:off x="7135664" y="1632043"/>
            <a:ext cx="1531138" cy="2485255"/>
            <a:chOff x="7175855" y="1533524"/>
            <a:chExt cx="1701445" cy="2485255"/>
          </a:xfrm>
        </p:grpSpPr>
        <p:sp>
          <p:nvSpPr>
            <p:cNvPr id="19" name="Rectangle: Rounded Corners 33">
              <a:extLst>
                <a:ext uri="{FF2B5EF4-FFF2-40B4-BE49-F238E27FC236}">
                  <a16:creationId xmlns:a16="http://schemas.microsoft.com/office/drawing/2014/main" id="{4A6A3019-A066-9EDF-5CB8-A9FDEA615ADB}"/>
                </a:ext>
              </a:extLst>
            </p:cNvPr>
            <p:cNvSpPr/>
            <p:nvPr/>
          </p:nvSpPr>
          <p:spPr>
            <a:xfrm>
              <a:off x="7175855" y="1533524"/>
              <a:ext cx="1701445" cy="2485255"/>
            </a:xfrm>
            <a:prstGeom prst="roundRect">
              <a:avLst>
                <a:gd name="adj" fmla="val 4367"/>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Rounded Corners 40">
              <a:extLst>
                <a:ext uri="{FF2B5EF4-FFF2-40B4-BE49-F238E27FC236}">
                  <a16:creationId xmlns:a16="http://schemas.microsoft.com/office/drawing/2014/main" id="{650B2968-7F5B-6215-FDF9-7EB2405F3FE3}"/>
                </a:ext>
              </a:extLst>
            </p:cNvPr>
            <p:cNvSpPr/>
            <p:nvPr/>
          </p:nvSpPr>
          <p:spPr>
            <a:xfrm>
              <a:off x="7175855" y="2210195"/>
              <a:ext cx="1701445" cy="355840"/>
            </a:xfrm>
            <a:prstGeom prst="roundRect">
              <a:avLst>
                <a:gd name="adj" fmla="val 4367"/>
              </a:avLst>
            </a:prstGeom>
            <a:solidFill>
              <a:srgbClr val="451D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End Customer</a:t>
              </a:r>
            </a:p>
          </p:txBody>
        </p:sp>
        <p:sp>
          <p:nvSpPr>
            <p:cNvPr id="21" name="TextBox 20">
              <a:extLst>
                <a:ext uri="{FF2B5EF4-FFF2-40B4-BE49-F238E27FC236}">
                  <a16:creationId xmlns:a16="http://schemas.microsoft.com/office/drawing/2014/main" id="{5E151D68-73E6-BAED-B7C0-911FB2A1B9E1}"/>
                </a:ext>
              </a:extLst>
            </p:cNvPr>
            <p:cNvSpPr txBox="1"/>
            <p:nvPr/>
          </p:nvSpPr>
          <p:spPr>
            <a:xfrm>
              <a:off x="7193854" y="2640950"/>
              <a:ext cx="1646714" cy="83869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Subscribe to </a:t>
              </a:r>
              <a:r>
                <a:rPr kumimoji="0" lang="en-US" sz="1100" b="0" i="0" u="none" strike="noStrike" kern="1200" cap="none" spc="0" normalizeH="0" baseline="0" noProof="0" err="1">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EverFlex</a:t>
              </a: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  contracted to partner</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Support direct from Hitachi or via partner helpdesk</a:t>
              </a:r>
            </a:p>
          </p:txBody>
        </p:sp>
      </p:grpSp>
      <p:pic>
        <p:nvPicPr>
          <p:cNvPr id="22" name="Shape41_20231227_022858">
            <a:extLst>
              <a:ext uri="{FF2B5EF4-FFF2-40B4-BE49-F238E27FC236}">
                <a16:creationId xmlns:a16="http://schemas.microsoft.com/office/drawing/2014/main" id="{32A7D271-E3F8-4958-7EB6-1B232EE94A0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20067" y="1766593"/>
            <a:ext cx="392024" cy="392020"/>
          </a:xfrm>
          <a:prstGeom prst="rect">
            <a:avLst/>
          </a:prstGeom>
        </p:spPr>
      </p:pic>
      <p:pic>
        <p:nvPicPr>
          <p:cNvPr id="23" name="Graphic 22">
            <a:extLst>
              <a:ext uri="{FF2B5EF4-FFF2-40B4-BE49-F238E27FC236}">
                <a16:creationId xmlns:a16="http://schemas.microsoft.com/office/drawing/2014/main" id="{01E85D70-6EB2-5B9A-F213-31E087CFBB6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27672" y="1809224"/>
            <a:ext cx="392024" cy="392020"/>
          </a:xfrm>
          <a:prstGeom prst="rect">
            <a:avLst/>
          </a:prstGeom>
        </p:spPr>
      </p:pic>
      <p:pic>
        <p:nvPicPr>
          <p:cNvPr id="24" name="Graphic 23">
            <a:extLst>
              <a:ext uri="{FF2B5EF4-FFF2-40B4-BE49-F238E27FC236}">
                <a16:creationId xmlns:a16="http://schemas.microsoft.com/office/drawing/2014/main" id="{42C19AD6-8988-2385-4DF6-2608C9DC74F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00874" y="1762340"/>
            <a:ext cx="392024" cy="392020"/>
          </a:xfrm>
          <a:prstGeom prst="rect">
            <a:avLst/>
          </a:prstGeom>
        </p:spPr>
      </p:pic>
      <p:pic>
        <p:nvPicPr>
          <p:cNvPr id="25" name="Graphic 24">
            <a:extLst>
              <a:ext uri="{FF2B5EF4-FFF2-40B4-BE49-F238E27FC236}">
                <a16:creationId xmlns:a16="http://schemas.microsoft.com/office/drawing/2014/main" id="{5E9D7326-56B7-EA83-177E-ED965B3DFFD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07739" y="1790902"/>
            <a:ext cx="392024" cy="392020"/>
          </a:xfrm>
          <a:prstGeom prst="rect">
            <a:avLst/>
          </a:prstGeom>
        </p:spPr>
      </p:pic>
      <p:grpSp>
        <p:nvGrpSpPr>
          <p:cNvPr id="26" name="Group 25">
            <a:extLst>
              <a:ext uri="{FF2B5EF4-FFF2-40B4-BE49-F238E27FC236}">
                <a16:creationId xmlns:a16="http://schemas.microsoft.com/office/drawing/2014/main" id="{5DA1BD50-0D81-9192-764A-8AD83ABBDE32}"/>
              </a:ext>
            </a:extLst>
          </p:cNvPr>
          <p:cNvGrpSpPr/>
          <p:nvPr/>
        </p:nvGrpSpPr>
        <p:grpSpPr>
          <a:xfrm>
            <a:off x="332486" y="1590657"/>
            <a:ext cx="1507453" cy="2521903"/>
            <a:chOff x="261620" y="1533524"/>
            <a:chExt cx="1701445" cy="2521903"/>
          </a:xfrm>
        </p:grpSpPr>
        <p:sp>
          <p:nvSpPr>
            <p:cNvPr id="27" name="Rectangle: Rounded Corners 25">
              <a:extLst>
                <a:ext uri="{FF2B5EF4-FFF2-40B4-BE49-F238E27FC236}">
                  <a16:creationId xmlns:a16="http://schemas.microsoft.com/office/drawing/2014/main" id="{E5A21BFD-D870-43D1-8209-F8CC5A7533CF}"/>
                </a:ext>
              </a:extLst>
            </p:cNvPr>
            <p:cNvSpPr/>
            <p:nvPr/>
          </p:nvSpPr>
          <p:spPr>
            <a:xfrm>
              <a:off x="261620" y="1533524"/>
              <a:ext cx="1701445" cy="2521903"/>
            </a:xfrm>
            <a:prstGeom prst="roundRect">
              <a:avLst>
                <a:gd name="adj" fmla="val 4367"/>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Rectangle: Rounded Corners 26">
              <a:extLst>
                <a:ext uri="{FF2B5EF4-FFF2-40B4-BE49-F238E27FC236}">
                  <a16:creationId xmlns:a16="http://schemas.microsoft.com/office/drawing/2014/main" id="{23357120-80C6-599B-1481-CB81BA4FC585}"/>
                </a:ext>
              </a:extLst>
            </p:cNvPr>
            <p:cNvSpPr/>
            <p:nvPr/>
          </p:nvSpPr>
          <p:spPr>
            <a:xfrm>
              <a:off x="261620" y="2210195"/>
              <a:ext cx="1701445" cy="355840"/>
            </a:xfrm>
            <a:prstGeom prst="roundRect">
              <a:avLst>
                <a:gd name="adj" fmla="val 4367"/>
              </a:avLst>
            </a:prstGeom>
            <a:solidFill>
              <a:srgbClr val="00477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CISCO</a:t>
              </a:r>
            </a:p>
          </p:txBody>
        </p:sp>
        <p:sp>
          <p:nvSpPr>
            <p:cNvPr id="29" name="TextBox 28">
              <a:extLst>
                <a:ext uri="{FF2B5EF4-FFF2-40B4-BE49-F238E27FC236}">
                  <a16:creationId xmlns:a16="http://schemas.microsoft.com/office/drawing/2014/main" id="{48C6E972-6196-E100-635E-31053DBE0676}"/>
                </a:ext>
              </a:extLst>
            </p:cNvPr>
            <p:cNvSpPr txBox="1"/>
            <p:nvPr/>
          </p:nvSpPr>
          <p:spPr>
            <a:xfrm>
              <a:off x="314579" y="2730092"/>
              <a:ext cx="1596722" cy="1067985"/>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Hardware &amp; Software Fulfillment</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Partner Support</a:t>
              </a:r>
            </a:p>
            <a:p>
              <a:pPr marL="171450" marR="0" lvl="0" indent="-1714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14141"/>
                  </a:solidFill>
                  <a:effectLst/>
                  <a:uLnTx/>
                  <a:uFillTx/>
                  <a:latin typeface="Neue Haas Grotesk Text Pro" panose="020B0504020202020204" pitchFamily="34" charset="77"/>
                  <a:ea typeface="+mn-ea"/>
                  <a:cs typeface="Times New Roman" panose="02020603050405020304" pitchFamily="18" charset="0"/>
                </a:rPr>
                <a:t>Direct Sales Engagement</a:t>
              </a:r>
            </a:p>
          </p:txBody>
        </p:sp>
      </p:grpSp>
      <p:pic>
        <p:nvPicPr>
          <p:cNvPr id="30" name="Graphic 29" descr="Blog outline">
            <a:extLst>
              <a:ext uri="{FF2B5EF4-FFF2-40B4-BE49-F238E27FC236}">
                <a16:creationId xmlns:a16="http://schemas.microsoft.com/office/drawing/2014/main" id="{7D2F38FD-311A-C887-5EFB-44E06AD24D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5866" y="1705366"/>
            <a:ext cx="529689" cy="529689"/>
          </a:xfrm>
          <a:prstGeom prst="rect">
            <a:avLst/>
          </a:prstGeom>
        </p:spPr>
      </p:pic>
      <p:cxnSp>
        <p:nvCxnSpPr>
          <p:cNvPr id="37" name="Straight Connector 36">
            <a:extLst>
              <a:ext uri="{FF2B5EF4-FFF2-40B4-BE49-F238E27FC236}">
                <a16:creationId xmlns:a16="http://schemas.microsoft.com/office/drawing/2014/main" id="{B66D283A-C238-566A-56CE-4AF495E67450}"/>
              </a:ext>
            </a:extLst>
          </p:cNvPr>
          <p:cNvCxnSpPr>
            <a:cxnSpLocks/>
          </p:cNvCxnSpPr>
          <p:nvPr/>
        </p:nvCxnSpPr>
        <p:spPr>
          <a:xfrm>
            <a:off x="1016000" y="4690536"/>
            <a:ext cx="52324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167B7065-E818-252A-12A8-CBAED212D563}"/>
              </a:ext>
            </a:extLst>
          </p:cNvPr>
          <p:cNvCxnSpPr/>
          <p:nvPr/>
        </p:nvCxnSpPr>
        <p:spPr>
          <a:xfrm flipV="1">
            <a:off x="6256867" y="4181686"/>
            <a:ext cx="0" cy="525783"/>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93A58B4D-C73B-D0E4-1557-B00162F46910}"/>
              </a:ext>
            </a:extLst>
          </p:cNvPr>
          <p:cNvCxnSpPr/>
          <p:nvPr/>
        </p:nvCxnSpPr>
        <p:spPr>
          <a:xfrm flipV="1">
            <a:off x="1016000" y="4164753"/>
            <a:ext cx="0" cy="525783"/>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C81F52E-E72C-A07A-06A7-04A9A908F0AD}"/>
              </a:ext>
            </a:extLst>
          </p:cNvPr>
          <p:cNvCxnSpPr/>
          <p:nvPr/>
        </p:nvCxnSpPr>
        <p:spPr>
          <a:xfrm flipV="1">
            <a:off x="2683933" y="4181686"/>
            <a:ext cx="0" cy="525783"/>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65C047E-F90B-94BB-BDB8-39066A188CDE}"/>
              </a:ext>
            </a:extLst>
          </p:cNvPr>
          <p:cNvSpPr txBox="1"/>
          <p:nvPr/>
        </p:nvSpPr>
        <p:spPr>
          <a:xfrm>
            <a:off x="3389166" y="4419714"/>
            <a:ext cx="2197012" cy="221599"/>
          </a:xfrm>
          <a:prstGeom prst="rect">
            <a:avLst/>
          </a:prstGeom>
          <a:noFill/>
        </p:spPr>
        <p:txBody>
          <a:bodyPr wrap="none" lIns="0" tIns="0" rIns="0" bIns="0" rtlCol="0">
            <a:spAutoFit/>
          </a:bodyPr>
          <a:lstStyle/>
          <a:p>
            <a:pPr algn="l">
              <a:lnSpc>
                <a:spcPct val="90000"/>
              </a:lnSpc>
              <a:spcBef>
                <a:spcPts val="600"/>
              </a:spcBef>
            </a:pPr>
            <a:r>
              <a:rPr lang="en-US" sz="1600" dirty="0">
                <a:solidFill>
                  <a:srgbClr val="4571B6"/>
                </a:solidFill>
                <a:latin typeface="Neue Haas Grotesk Text Pro" panose="020B0504020202020204" pitchFamily="34" charset="77"/>
              </a:rPr>
              <a:t>Pre-Sales Engagement</a:t>
            </a:r>
            <a:endParaRPr lang="en-US" sz="1600" baseline="0" dirty="0">
              <a:solidFill>
                <a:srgbClr val="4571B6"/>
              </a:solidFill>
              <a:latin typeface="Neue Haas Grotesk Text Pro" panose="020B0504020202020204" pitchFamily="34" charset="77"/>
            </a:endParaRPr>
          </a:p>
        </p:txBody>
      </p:sp>
    </p:spTree>
    <p:extLst>
      <p:ext uri="{BB962C8B-B14F-4D97-AF65-F5344CB8AC3E}">
        <p14:creationId xmlns:p14="http://schemas.microsoft.com/office/powerpoint/2010/main" val="42145514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dirty="0">
                <a:latin typeface="Neue Haas Grotesk Text Pro" panose="020B0504020202020204" pitchFamily="34" charset="0"/>
              </a:rPr>
              <a:t>Partner Value </a:t>
            </a:r>
            <a:r>
              <a:rPr lang="en-US" dirty="0" err="1">
                <a:latin typeface="Neue Haas Grotesk Text Pro" panose="020B0504020202020204" pitchFamily="34" charset="0"/>
              </a:rPr>
              <a:t>GoTo</a:t>
            </a:r>
            <a:r>
              <a:rPr lang="en-US" dirty="0">
                <a:latin typeface="Neue Haas Grotesk Text Pro" panose="020B0504020202020204" pitchFamily="34" charset="0"/>
              </a:rPr>
              <a:t> Market Paths</a:t>
            </a:r>
          </a:p>
        </p:txBody>
      </p:sp>
      <p:sp>
        <p:nvSpPr>
          <p:cNvPr id="38" name="Text Placeholder 3">
            <a:extLst>
              <a:ext uri="{FF2B5EF4-FFF2-40B4-BE49-F238E27FC236}">
                <a16:creationId xmlns:a16="http://schemas.microsoft.com/office/drawing/2014/main" id="{710EFC0A-2D02-D4CB-6368-994E7D882ECE}"/>
              </a:ext>
            </a:extLst>
          </p:cNvPr>
          <p:cNvSpPr txBox="1">
            <a:spLocks/>
          </p:cNvSpPr>
          <p:nvPr/>
        </p:nvSpPr>
        <p:spPr>
          <a:xfrm>
            <a:off x="868363" y="879940"/>
            <a:ext cx="2930525" cy="254000"/>
          </a:xfrm>
          <a:prstGeom prst="rect">
            <a:avLst/>
          </a:prstGeom>
        </p:spPr>
        <p:txBody>
          <a:bodyPr vert="horz" wrap="square" lIns="0" tIns="0" rIns="0" bIns="0" rtlCol="0">
            <a:spAutoFit/>
          </a:bodyPr>
          <a:lstStyle>
            <a:lvl1pPr marL="252000" indent="-108000" algn="l" defTabSz="914400" rtl="0" eaLnBrk="1" latinLnBrk="0" hangingPunct="1">
              <a:lnSpc>
                <a:spcPct val="100000"/>
              </a:lnSpc>
              <a:spcBef>
                <a:spcPts val="0"/>
              </a:spcBef>
              <a:spcAft>
                <a:spcPts val="200"/>
              </a:spcAft>
              <a:buClr>
                <a:schemeClr val="tx2"/>
              </a:buClr>
              <a:buFont typeface="Arial" panose="020B0604020202020204" pitchFamily="34" charset="0"/>
              <a:buChar char="•"/>
              <a:defRPr lang="en-US" sz="1600" b="0" i="0" kern="1200" dirty="0" smtClean="0">
                <a:solidFill>
                  <a:schemeClr val="tx2"/>
                </a:solidFill>
                <a:latin typeface="Neue Haas Grotesk Text Pro" panose="020B0504020202020204" pitchFamily="34" charset="77"/>
                <a:ea typeface="+mn-ea"/>
                <a:cs typeface="+mn-cs"/>
              </a:defRPr>
            </a:lvl1pPr>
            <a:lvl2pPr marL="360000" indent="-108000" algn="l" defTabSz="914400" rtl="0" eaLnBrk="1" latinLnBrk="0" hangingPunct="1">
              <a:lnSpc>
                <a:spcPct val="95000"/>
              </a:lnSpc>
              <a:spcBef>
                <a:spcPts val="0"/>
              </a:spcBef>
              <a:spcAft>
                <a:spcPts val="400"/>
              </a:spcAft>
              <a:buClr>
                <a:schemeClr val="tx2"/>
              </a:buClr>
              <a:buFont typeface="Arial" panose="020B0604020202020204" pitchFamily="34" charset="0"/>
              <a:buChar char="•"/>
              <a:defRPr lang="en-US" sz="1300" b="0" i="0" kern="1200" dirty="0" smtClean="0">
                <a:solidFill>
                  <a:schemeClr val="tx2"/>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900" b="0" i="0" kern="1200" dirty="0" smtClean="0">
                <a:solidFill>
                  <a:schemeClr val="tx2"/>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smtClean="0">
                <a:solidFill>
                  <a:schemeClr val="tx2"/>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tx2"/>
              </a:buClr>
              <a:buFont typeface="Arial" panose="020B0604020202020204" pitchFamily="34" charset="0"/>
              <a:buChar char="•"/>
              <a:defRPr lang="en-US" sz="800" b="0" i="0" kern="1200" dirty="0">
                <a:solidFill>
                  <a:schemeClr val="tx2"/>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indent="0" algn="ctr">
              <a:buFont typeface="Arial" panose="020B0604020202020204" pitchFamily="34" charset="0"/>
              <a:buNone/>
            </a:pPr>
            <a:r>
              <a:rPr lang="en-IN" b="1">
                <a:solidFill>
                  <a:schemeClr val="accent2"/>
                </a:solidFill>
                <a:latin typeface="Neue Haas Grotesk Text Pro" panose="020B0504020202020204" pitchFamily="34" charset="0"/>
              </a:rPr>
              <a:t>EverFlex – Hitachi &amp; Cisco</a:t>
            </a:r>
          </a:p>
        </p:txBody>
      </p:sp>
      <p:sp>
        <p:nvSpPr>
          <p:cNvPr id="39" name="Text Placeholder 3">
            <a:extLst>
              <a:ext uri="{FF2B5EF4-FFF2-40B4-BE49-F238E27FC236}">
                <a16:creationId xmlns:a16="http://schemas.microsoft.com/office/drawing/2014/main" id="{DCC9BD20-9E73-E0A8-DD83-84960C0BD5F9}"/>
              </a:ext>
            </a:extLst>
          </p:cNvPr>
          <p:cNvSpPr txBox="1">
            <a:spLocks/>
          </p:cNvSpPr>
          <p:nvPr/>
        </p:nvSpPr>
        <p:spPr>
          <a:xfrm>
            <a:off x="5287731" y="879599"/>
            <a:ext cx="2930988" cy="253916"/>
          </a:xfrm>
          <a:prstGeom prst="rect">
            <a:avLst/>
          </a:prstGeom>
          <a:noFill/>
          <a:ln>
            <a:noFill/>
          </a:ln>
        </p:spPr>
        <p:txBody>
          <a:bodyPr vert="horz" wrap="square" lIns="0" tIns="0" rIns="0" bIns="0" numCol="1" rtlCol="0" anchor="t" anchorCtr="0" compatLnSpc="1">
            <a:prstTxWarp prst="textNoShape">
              <a:avLst/>
            </a:prstTxWarp>
            <a:spAutoFit/>
          </a:bodyPr>
          <a:lstStyle>
            <a:lvl1pPr marL="252000" indent="-108000" algn="l" defTabSz="914400" rtl="0" eaLnBrk="1" latinLnBrk="0" hangingPunct="1">
              <a:lnSpc>
                <a:spcPct val="100000"/>
              </a:lnSpc>
              <a:spcBef>
                <a:spcPts val="0"/>
              </a:spcBef>
              <a:spcAft>
                <a:spcPts val="200"/>
              </a:spcAft>
              <a:buClr>
                <a:schemeClr val="accent2"/>
              </a:buClr>
              <a:buFont typeface="Arial" panose="020B0604020202020204" pitchFamily="34" charset="0"/>
              <a:buChar char="•"/>
              <a:defRPr lang="en-US" sz="1650" b="0" i="0" kern="1200" spc="0">
                <a:solidFill>
                  <a:schemeClr val="accent2">
                    <a:lumMod val="75000"/>
                  </a:schemeClr>
                </a:solidFill>
                <a:latin typeface="Salesforce Sans Light" charset="0"/>
                <a:ea typeface="Salesforce Sans Light" charset="0"/>
                <a:cs typeface="Salesforce Sans Light" charset="0"/>
              </a:defRPr>
            </a:lvl1pPr>
            <a:lvl2pPr marL="360000" indent="-108000" algn="l" defTabSz="914400" rtl="0" eaLnBrk="1" latinLnBrk="0" hangingPunct="1">
              <a:lnSpc>
                <a:spcPct val="95000"/>
              </a:lnSpc>
              <a:spcBef>
                <a:spcPts val="0"/>
              </a:spcBef>
              <a:spcAft>
                <a:spcPts val="400"/>
              </a:spcAft>
              <a:buClr>
                <a:schemeClr val="accent2"/>
              </a:buClr>
              <a:buFont typeface="Arial" panose="020B0604020202020204" pitchFamily="34" charset="0"/>
              <a:buChar char="•"/>
              <a:defRPr lang="en-US" sz="1300" b="0" i="0" kern="1200" dirty="0" smtClean="0">
                <a:solidFill>
                  <a:schemeClr val="tx1"/>
                </a:solidFill>
                <a:latin typeface="Neue Haas Grotesk Text Pro" panose="020B0504020202020204" pitchFamily="34" charset="77"/>
                <a:ea typeface="+mn-ea"/>
                <a:cs typeface="+mn-cs"/>
              </a:defRPr>
            </a:lvl2pPr>
            <a:lvl3pPr marL="468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900" b="0" i="0" kern="1200" dirty="0" smtClean="0">
                <a:solidFill>
                  <a:schemeClr val="tx1"/>
                </a:solidFill>
                <a:latin typeface="Neue Haas Grotesk Text Pro" panose="020B0504020202020204" pitchFamily="34" charset="77"/>
                <a:ea typeface="+mn-ea"/>
                <a:cs typeface="+mn-cs"/>
              </a:defRPr>
            </a:lvl3pPr>
            <a:lvl4pPr marL="576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smtClean="0">
                <a:solidFill>
                  <a:schemeClr val="tx1"/>
                </a:solidFill>
                <a:latin typeface="Neue Haas Grotesk Text Pro" panose="020B0504020202020204" pitchFamily="34" charset="77"/>
                <a:ea typeface="+mn-ea"/>
                <a:cs typeface="+mn-cs"/>
              </a:defRPr>
            </a:lvl4pPr>
            <a:lvl5pPr marL="684000" indent="-108000" algn="l" defTabSz="914400" rtl="0" eaLnBrk="1" latinLnBrk="0" hangingPunct="1">
              <a:lnSpc>
                <a:spcPct val="95000"/>
              </a:lnSpc>
              <a:spcBef>
                <a:spcPts val="0"/>
              </a:spcBef>
              <a:spcAft>
                <a:spcPts val="500"/>
              </a:spcAft>
              <a:buClr>
                <a:schemeClr val="accent2"/>
              </a:buClr>
              <a:buFont typeface="Arial" panose="020B0604020202020204" pitchFamily="34" charset="0"/>
              <a:buChar char="•"/>
              <a:defRPr lang="en-US" sz="800" b="0" i="0" kern="1200" dirty="0">
                <a:solidFill>
                  <a:schemeClr val="tx1"/>
                </a:solidFill>
                <a:latin typeface="Neue Haas Grotesk Text Pro" panose="020B0504020202020204" pitchFamily="34" charset="77"/>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indent="0" algn="ctr">
              <a:buNone/>
            </a:pPr>
            <a:r>
              <a:rPr lang="en-US" b="1">
                <a:solidFill>
                  <a:srgbClr val="4571B6"/>
                </a:solidFill>
                <a:latin typeface="Neue Haas Grotesk Text Pro" panose="020B0504020202020204" pitchFamily="34" charset="0"/>
              </a:rPr>
              <a:t>GPL – Hitachi &amp; Cisco</a:t>
            </a:r>
          </a:p>
        </p:txBody>
      </p:sp>
      <p:graphicFrame>
        <p:nvGraphicFramePr>
          <p:cNvPr id="51" name="Table 50">
            <a:extLst>
              <a:ext uri="{FF2B5EF4-FFF2-40B4-BE49-F238E27FC236}">
                <a16:creationId xmlns:a16="http://schemas.microsoft.com/office/drawing/2014/main" id="{BEA688A8-5FFD-6862-C5FB-3C15B5E0536C}"/>
              </a:ext>
            </a:extLst>
          </p:cNvPr>
          <p:cNvGraphicFramePr>
            <a:graphicFrameLocks noGrp="1"/>
          </p:cNvGraphicFramePr>
          <p:nvPr/>
        </p:nvGraphicFramePr>
        <p:xfrm>
          <a:off x="190500" y="1166363"/>
          <a:ext cx="4286250" cy="3634097"/>
        </p:xfrm>
        <a:graphic>
          <a:graphicData uri="http://schemas.openxmlformats.org/drawingml/2006/table">
            <a:tbl>
              <a:tblPr firstRow="1" bandRow="1">
                <a:tableStyleId>{21E4AEA4-8DFA-4A89-87EB-49C32662AFE0}</a:tableStyleId>
              </a:tblPr>
              <a:tblGrid>
                <a:gridCol w="2758514">
                  <a:extLst>
                    <a:ext uri="{9D8B030D-6E8A-4147-A177-3AD203B41FA5}">
                      <a16:colId xmlns:a16="http://schemas.microsoft.com/office/drawing/2014/main" val="3446605797"/>
                    </a:ext>
                  </a:extLst>
                </a:gridCol>
                <a:gridCol w="1527736">
                  <a:extLst>
                    <a:ext uri="{9D8B030D-6E8A-4147-A177-3AD203B41FA5}">
                      <a16:colId xmlns:a16="http://schemas.microsoft.com/office/drawing/2014/main" val="2495031772"/>
                    </a:ext>
                  </a:extLst>
                </a:gridCol>
              </a:tblGrid>
              <a:tr h="306139">
                <a:tc>
                  <a:txBody>
                    <a:bodyPr/>
                    <a:lstStyle/>
                    <a:p>
                      <a:pPr algn="l"/>
                      <a:r>
                        <a:rPr lang="en-US" sz="1400">
                          <a:latin typeface="Neue Haas Grotesk Text Pro" panose="020B0504020202020204" pitchFamily="34" charset="0"/>
                        </a:rPr>
                        <a:t>Task</a:t>
                      </a:r>
                    </a:p>
                  </a:txBody>
                  <a:tcPr>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CC0000"/>
                    </a:solidFill>
                  </a:tcPr>
                </a:tc>
                <a:tc>
                  <a:txBody>
                    <a:bodyPr/>
                    <a:lstStyle/>
                    <a:p>
                      <a:pPr algn="l"/>
                      <a:r>
                        <a:rPr lang="en-US" sz="1400">
                          <a:latin typeface="Neue Haas Grotesk Text Pro" panose="020B0504020202020204" pitchFamily="34" charset="0"/>
                        </a:rPr>
                        <a:t>Owner</a:t>
                      </a:r>
                    </a:p>
                  </a:txBody>
                  <a:tcPr>
                    <a:lnL w="3175"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rgbClr val="CC0000"/>
                    </a:solidFill>
                  </a:tcPr>
                </a:tc>
                <a:extLst>
                  <a:ext uri="{0D108BD9-81ED-4DB2-BD59-A6C34878D82A}">
                    <a16:rowId xmlns:a16="http://schemas.microsoft.com/office/drawing/2014/main" val="368510274"/>
                  </a:ext>
                </a:extLst>
              </a:tr>
              <a:tr h="3673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Neue Haas Grotesk Text Pro" panose="020B0504020202020204" pitchFamily="34" charset="0"/>
                        </a:rPr>
                        <a:t>Engages with Hitachi/Cisco to Scope Customer Environment</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a:latin typeface="Neue Haas Grotesk Text Pro" panose="020B0504020202020204" pitchFamily="34" charset="0"/>
                        </a:rPr>
                        <a:t>Partner</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2539232"/>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Neue Haas Grotesk Text Pro" panose="020B0504020202020204" pitchFamily="34" charset="0"/>
                        </a:rPr>
                        <a:t>Quote Creation (Cisco Hardware/Softwar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a:latin typeface="Neue Haas Grotesk Text Pro" panose="020B0504020202020204" pitchFamily="34" charset="0"/>
                        </a:rPr>
                        <a:t>Partner/Cisco</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5211607"/>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 Deal Registration</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0437270"/>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Deal Registration Confirmation</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420044"/>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Quick Quote” Approve</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Cisco</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75083781"/>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Deal Qualification</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4858902"/>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TCO Analysi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9753650"/>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Quote Creation (Hitachi Hardware &amp; Software)</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12956523"/>
                  </a:ext>
                </a:extLst>
              </a:tr>
              <a:tr h="324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To Partner” Pricing &amp; Supporting Document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026423"/>
                  </a:ext>
                </a:extLst>
              </a:tr>
              <a:tr h="3673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To Customer” Pricing &amp; Supporting Documents plus additional value-added service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202951647"/>
                  </a:ext>
                </a:extLst>
              </a:tr>
            </a:tbl>
          </a:graphicData>
        </a:graphic>
      </p:graphicFrame>
      <p:graphicFrame>
        <p:nvGraphicFramePr>
          <p:cNvPr id="54" name="Table 53">
            <a:extLst>
              <a:ext uri="{FF2B5EF4-FFF2-40B4-BE49-F238E27FC236}">
                <a16:creationId xmlns:a16="http://schemas.microsoft.com/office/drawing/2014/main" id="{864C8496-9BDB-E46D-F172-6C25491A3A17}"/>
              </a:ext>
            </a:extLst>
          </p:cNvPr>
          <p:cNvGraphicFramePr>
            <a:graphicFrameLocks noGrp="1"/>
          </p:cNvGraphicFramePr>
          <p:nvPr/>
        </p:nvGraphicFramePr>
        <p:xfrm>
          <a:off x="4610100" y="1166363"/>
          <a:ext cx="4286250" cy="3634098"/>
        </p:xfrm>
        <a:graphic>
          <a:graphicData uri="http://schemas.openxmlformats.org/drawingml/2006/table">
            <a:tbl>
              <a:tblPr firstRow="1" bandRow="1">
                <a:tableStyleId>{00A15C55-8517-42AA-B614-E9B94910E393}</a:tableStyleId>
              </a:tblPr>
              <a:tblGrid>
                <a:gridCol w="2758514">
                  <a:extLst>
                    <a:ext uri="{9D8B030D-6E8A-4147-A177-3AD203B41FA5}">
                      <a16:colId xmlns:a16="http://schemas.microsoft.com/office/drawing/2014/main" val="3446605797"/>
                    </a:ext>
                  </a:extLst>
                </a:gridCol>
                <a:gridCol w="1527736">
                  <a:extLst>
                    <a:ext uri="{9D8B030D-6E8A-4147-A177-3AD203B41FA5}">
                      <a16:colId xmlns:a16="http://schemas.microsoft.com/office/drawing/2014/main" val="2495031772"/>
                    </a:ext>
                  </a:extLst>
                </a:gridCol>
              </a:tblGrid>
              <a:tr h="304800">
                <a:tc>
                  <a:txBody>
                    <a:bodyPr/>
                    <a:lstStyle/>
                    <a:p>
                      <a:pPr algn="l"/>
                      <a:r>
                        <a:rPr lang="en-US" sz="1400">
                          <a:latin typeface="Neue Haas Grotesk Text Pro" panose="020B0504020202020204" pitchFamily="34" charset="0"/>
                        </a:rPr>
                        <a:t>Task</a:t>
                      </a:r>
                    </a:p>
                  </a:txBody>
                  <a:tcPr>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4571B6"/>
                    </a:solidFill>
                  </a:tcPr>
                </a:tc>
                <a:tc>
                  <a:txBody>
                    <a:bodyPr/>
                    <a:lstStyle/>
                    <a:p>
                      <a:pPr algn="l"/>
                      <a:r>
                        <a:rPr lang="en-US" sz="1400">
                          <a:latin typeface="Neue Haas Grotesk Text Pro" panose="020B0504020202020204" pitchFamily="34" charset="0"/>
                        </a:rPr>
                        <a:t>Owner</a:t>
                      </a:r>
                    </a:p>
                  </a:txBody>
                  <a:tcPr>
                    <a:lnL w="3175"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rgbClr val="4571B6"/>
                    </a:solidFill>
                  </a:tcPr>
                </a:tc>
                <a:extLst>
                  <a:ext uri="{0D108BD9-81ED-4DB2-BD59-A6C34878D82A}">
                    <a16:rowId xmlns:a16="http://schemas.microsoft.com/office/drawing/2014/main" val="368510274"/>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Neue Haas Grotesk Text Pro" panose="020B0504020202020204" pitchFamily="34" charset="0"/>
                        </a:rPr>
                        <a:t>Engages with Hitachi/Cisco to Scope Customer Environment</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algn="ctr"/>
                      <a:r>
                        <a:rPr lang="en-US" sz="900">
                          <a:latin typeface="Neue Haas Grotesk Text Pro" panose="020B0504020202020204" pitchFamily="34" charset="0"/>
                        </a:rPr>
                        <a:t>Partner</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2539232"/>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latin typeface="Neue Haas Grotesk Text Pro" panose="020B0504020202020204" pitchFamily="34" charset="0"/>
                        </a:rPr>
                        <a:t>Outline Partner delivered services</a:t>
                      </a: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algn="ctr"/>
                      <a:r>
                        <a:rPr lang="en-US" sz="900">
                          <a:latin typeface="Neue Haas Grotesk Text Pro" panose="020B0504020202020204" pitchFamily="34" charset="0"/>
                        </a:rPr>
                        <a:t>Partner</a:t>
                      </a: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5211607"/>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rovide Customer outline and desired outcomes to Hitachi and Cisco</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0437270"/>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rovide desired architecture to meet Customer need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Cisco/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420044"/>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Deal Qualification</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4858902"/>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TCO Analysi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9753650"/>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Quote Creations</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Cisco/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12956523"/>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rovide PID Details for ordering</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Hitachi</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026423"/>
                  </a:ext>
                </a:extLst>
              </a:tr>
              <a:tr h="3110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Configure PID in Cisco GPL for customer order</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2951647"/>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Deliver pricing and supporting documents to Customer</a:t>
                      </a:r>
                      <a:endParaRPr lang="en-US" sz="900" kern="1200">
                        <a:solidFill>
                          <a:schemeClr val="dk1"/>
                        </a:solidFill>
                        <a:latin typeface="Neue Haas Grotesk Text Pro" panose="020B0504020202020204" pitchFamily="34" charset="0"/>
                        <a:ea typeface="+mn-ea"/>
                        <a:cs typeface="+mn-cs"/>
                      </a:endParaRPr>
                    </a:p>
                  </a:txBody>
                  <a:tcPr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dk1"/>
                          </a:solidFill>
                          <a:latin typeface="Neue Haas Grotesk Text Pro" panose="020B0504020202020204" pitchFamily="34" charset="0"/>
                        </a:rPr>
                        <a:t>Partner</a:t>
                      </a:r>
                      <a:endParaRPr lang="en-US" sz="900" kern="1200">
                        <a:solidFill>
                          <a:schemeClr val="dk1"/>
                        </a:solidFill>
                        <a:latin typeface="Neue Haas Grotesk Text Pro" panose="020B0504020202020204" pitchFamily="34" charset="0"/>
                        <a:ea typeface="+mn-ea"/>
                        <a:cs typeface="+mn-cs"/>
                      </a:endParaRPr>
                    </a:p>
                  </a:txBody>
                  <a:tcPr anchor="ct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53533694"/>
                  </a:ext>
                </a:extLst>
              </a:tr>
            </a:tbl>
          </a:graphicData>
        </a:graphic>
      </p:graphicFrame>
      <p:pic>
        <p:nvPicPr>
          <p:cNvPr id="97" name="Graphic 96">
            <a:extLst>
              <a:ext uri="{FF2B5EF4-FFF2-40B4-BE49-F238E27FC236}">
                <a16:creationId xmlns:a16="http://schemas.microsoft.com/office/drawing/2014/main" id="{C04DFB16-0B63-F6F3-2AA8-C0E932BF6FC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58377" y="1204137"/>
            <a:ext cx="235370" cy="235370"/>
          </a:xfrm>
          <a:prstGeom prst="rect">
            <a:avLst/>
          </a:prstGeom>
        </p:spPr>
      </p:pic>
      <p:pic>
        <p:nvPicPr>
          <p:cNvPr id="99" name="Graphic 98">
            <a:extLst>
              <a:ext uri="{FF2B5EF4-FFF2-40B4-BE49-F238E27FC236}">
                <a16:creationId xmlns:a16="http://schemas.microsoft.com/office/drawing/2014/main" id="{5E220C66-EA50-1DD5-D4D5-2B3896C5B94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70964" y="1204353"/>
            <a:ext cx="238542" cy="238542"/>
          </a:xfrm>
          <a:prstGeom prst="rect">
            <a:avLst/>
          </a:prstGeom>
        </p:spPr>
      </p:pic>
      <p:pic>
        <p:nvPicPr>
          <p:cNvPr id="100" name="Graphic 99">
            <a:extLst>
              <a:ext uri="{FF2B5EF4-FFF2-40B4-BE49-F238E27FC236}">
                <a16:creationId xmlns:a16="http://schemas.microsoft.com/office/drawing/2014/main" id="{8782DE98-FC61-A2C7-971A-3BF341AC31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79686" y="1214836"/>
            <a:ext cx="213973" cy="213973"/>
          </a:xfrm>
          <a:prstGeom prst="rect">
            <a:avLst/>
          </a:prstGeom>
        </p:spPr>
      </p:pic>
      <p:pic>
        <p:nvPicPr>
          <p:cNvPr id="101" name="Graphic 100">
            <a:extLst>
              <a:ext uri="{FF2B5EF4-FFF2-40B4-BE49-F238E27FC236}">
                <a16:creationId xmlns:a16="http://schemas.microsoft.com/office/drawing/2014/main" id="{6B5846CB-97F8-F38D-D8EC-741E45256CC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92417" y="1215196"/>
            <a:ext cx="216856" cy="216856"/>
          </a:xfrm>
          <a:prstGeom prst="rect">
            <a:avLst/>
          </a:prstGeom>
        </p:spPr>
      </p:pic>
    </p:spTree>
    <p:extLst>
      <p:ext uri="{BB962C8B-B14F-4D97-AF65-F5344CB8AC3E}">
        <p14:creationId xmlns:p14="http://schemas.microsoft.com/office/powerpoint/2010/main" val="222122436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6A5762B-3C11-9761-E1EE-DC626418F73C}"/>
              </a:ext>
            </a:extLst>
          </p:cNvPr>
          <p:cNvSpPr>
            <a:spLocks noGrp="1"/>
          </p:cNvSpPr>
          <p:nvPr>
            <p:ph type="ctrTitle"/>
          </p:nvPr>
        </p:nvSpPr>
        <p:spPr>
          <a:xfrm>
            <a:off x="614642" y="1912249"/>
            <a:ext cx="5954926" cy="1319001"/>
          </a:xfrm>
        </p:spPr>
        <p:txBody>
          <a:bodyPr>
            <a:normAutofit fontScale="90000"/>
          </a:bodyPr>
          <a:lstStyle/>
          <a:p>
            <a:r>
              <a:rPr lang="en-US" dirty="0"/>
              <a:t>HC²</a:t>
            </a:r>
            <a:br>
              <a:rPr lang="en-US" dirty="0"/>
            </a:br>
            <a:r>
              <a:rPr lang="en-US" sz="1600" dirty="0"/>
              <a:t>(Hitachi </a:t>
            </a:r>
            <a:r>
              <a:rPr lang="en-US" sz="1600" dirty="0" err="1"/>
              <a:t>EverFlex</a:t>
            </a:r>
            <a:r>
              <a:rPr lang="en-US" sz="1600" dirty="0"/>
              <a:t> with Cisco Powered Hybrid Cloud)</a:t>
            </a:r>
            <a:br>
              <a:rPr lang="en-US" dirty="0"/>
            </a:br>
            <a:r>
              <a:rPr lang="en-US" dirty="0"/>
              <a:t>Key Information</a:t>
            </a:r>
          </a:p>
        </p:txBody>
      </p:sp>
    </p:spTree>
    <p:extLst>
      <p:ext uri="{BB962C8B-B14F-4D97-AF65-F5344CB8AC3E}">
        <p14:creationId xmlns:p14="http://schemas.microsoft.com/office/powerpoint/2010/main" val="2604447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dirty="0">
                <a:latin typeface="Neue Haas Grotesk Text Pro" panose="020B0504020202020204" pitchFamily="34" charset="0"/>
              </a:rPr>
              <a:t>Prospecting and Hot Customer Topics	</a:t>
            </a:r>
            <a:endParaRPr lang="en-US" b="0" dirty="0">
              <a:latin typeface="Neue Haas Grotesk Text Pro" panose="020B0504020202020204" pitchFamily="34" charset="0"/>
            </a:endParaRPr>
          </a:p>
        </p:txBody>
      </p:sp>
      <p:sp>
        <p:nvSpPr>
          <p:cNvPr id="39" name="object 11">
            <a:extLst>
              <a:ext uri="{FF2B5EF4-FFF2-40B4-BE49-F238E27FC236}">
                <a16:creationId xmlns:a16="http://schemas.microsoft.com/office/drawing/2014/main" id="{DF973167-88D2-85EE-1B58-117E9C41839B}"/>
              </a:ext>
            </a:extLst>
          </p:cNvPr>
          <p:cNvSpPr/>
          <p:nvPr/>
        </p:nvSpPr>
        <p:spPr>
          <a:xfrm>
            <a:off x="2391937" y="812799"/>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40" name="object 13">
            <a:extLst>
              <a:ext uri="{FF2B5EF4-FFF2-40B4-BE49-F238E27FC236}">
                <a16:creationId xmlns:a16="http://schemas.microsoft.com/office/drawing/2014/main" id="{E5F666AF-F9C9-4D7C-081B-EC89E8605251}"/>
              </a:ext>
            </a:extLst>
          </p:cNvPr>
          <p:cNvSpPr/>
          <p:nvPr/>
        </p:nvSpPr>
        <p:spPr>
          <a:xfrm>
            <a:off x="4617816" y="812799"/>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41" name="object 15">
            <a:extLst>
              <a:ext uri="{FF2B5EF4-FFF2-40B4-BE49-F238E27FC236}">
                <a16:creationId xmlns:a16="http://schemas.microsoft.com/office/drawing/2014/main" id="{CEF4E6A6-7198-5DEC-C204-6E4C3B2AB438}"/>
              </a:ext>
            </a:extLst>
          </p:cNvPr>
          <p:cNvSpPr/>
          <p:nvPr/>
        </p:nvSpPr>
        <p:spPr>
          <a:xfrm>
            <a:off x="6843694" y="812799"/>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42" name="Shape2_20240717_112730">
            <a:extLst>
              <a:ext uri="{FF2B5EF4-FFF2-40B4-BE49-F238E27FC236}">
                <a16:creationId xmlns:a16="http://schemas.microsoft.com/office/drawing/2014/main" id="{0FA4CC6C-1790-92F3-A0CD-776AE66C0594}"/>
              </a:ext>
            </a:extLst>
          </p:cNvPr>
          <p:cNvSpPr txBox="1">
            <a:spLocks/>
          </p:cNvSpPr>
          <p:nvPr/>
        </p:nvSpPr>
        <p:spPr>
          <a:xfrm>
            <a:off x="6843694" y="1481321"/>
            <a:ext cx="2059262" cy="807958"/>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Desire to adopt flexible consumption model (cloud-like)</a:t>
            </a:r>
          </a:p>
        </p:txBody>
      </p:sp>
      <p:sp>
        <p:nvSpPr>
          <p:cNvPr id="43" name="Shape3_20240717_112730">
            <a:extLst>
              <a:ext uri="{FF2B5EF4-FFF2-40B4-BE49-F238E27FC236}">
                <a16:creationId xmlns:a16="http://schemas.microsoft.com/office/drawing/2014/main" id="{5F808ADC-3DCD-D9E9-5C59-9489E26DDB34}"/>
              </a:ext>
            </a:extLst>
          </p:cNvPr>
          <p:cNvSpPr txBox="1">
            <a:spLocks/>
          </p:cNvSpPr>
          <p:nvPr/>
        </p:nvSpPr>
        <p:spPr>
          <a:xfrm>
            <a:off x="4617816" y="1481321"/>
            <a:ext cx="2059262" cy="590431"/>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lang="en-US" sz="1400" b="0" kern="0" dirty="0">
                <a:solidFill>
                  <a:srgbClr val="222222"/>
                </a:solidFill>
                <a:latin typeface="Neue Haas Grotesk Text Pro" panose="020B0504020202020204" pitchFamily="34" charset="77"/>
                <a:ea typeface="Open Sans"/>
                <a:cs typeface="Open Sans"/>
                <a:sym typeface="Open Sans"/>
              </a:rPr>
              <a:t>Total Cost of Ownership is too high</a:t>
            </a:r>
            <a:endParaRPr kumimoji="0" lang="en-US" sz="1400" b="0" i="0" u="none" strike="noStrike" kern="0" cap="none" spc="0" normalizeH="0" baseline="0" noProof="0" dirty="0">
              <a:ln>
                <a:noFill/>
              </a:ln>
              <a:solidFill>
                <a:srgbClr val="222222"/>
              </a:solidFill>
              <a:effectLst/>
              <a:uLnTx/>
              <a:uFillTx/>
              <a:latin typeface="Neue Haas Grotesk Text Pro" panose="020B0504020202020204" pitchFamily="34" charset="77"/>
              <a:ea typeface="Open Sans"/>
              <a:cs typeface="Open Sans"/>
              <a:sym typeface="Open Sans"/>
            </a:endParaRPr>
          </a:p>
        </p:txBody>
      </p:sp>
      <p:sp>
        <p:nvSpPr>
          <p:cNvPr id="44" name="Shape4_20240717_112730">
            <a:extLst>
              <a:ext uri="{FF2B5EF4-FFF2-40B4-BE49-F238E27FC236}">
                <a16:creationId xmlns:a16="http://schemas.microsoft.com/office/drawing/2014/main" id="{D24E53FE-DAA8-3A41-FF4F-0659FFC39E19}"/>
              </a:ext>
            </a:extLst>
          </p:cNvPr>
          <p:cNvSpPr txBox="1">
            <a:spLocks/>
          </p:cNvSpPr>
          <p:nvPr/>
        </p:nvSpPr>
        <p:spPr>
          <a:xfrm>
            <a:off x="2391937" y="1481321"/>
            <a:ext cx="2059262" cy="1025485"/>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Desire to reduce time to value with automation and self-service</a:t>
            </a:r>
          </a:p>
        </p:txBody>
      </p:sp>
      <p:sp>
        <p:nvSpPr>
          <p:cNvPr id="45" name="Rectangle 44">
            <a:extLst>
              <a:ext uri="{FF2B5EF4-FFF2-40B4-BE49-F238E27FC236}">
                <a16:creationId xmlns:a16="http://schemas.microsoft.com/office/drawing/2014/main" id="{6375F850-9853-E3FB-BFB2-DEE06B22BE67}"/>
              </a:ext>
            </a:extLst>
          </p:cNvPr>
          <p:cNvSpPr/>
          <p:nvPr/>
        </p:nvSpPr>
        <p:spPr>
          <a:xfrm>
            <a:off x="2391937" y="812799"/>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46" name="Rectangle 45">
            <a:extLst>
              <a:ext uri="{FF2B5EF4-FFF2-40B4-BE49-F238E27FC236}">
                <a16:creationId xmlns:a16="http://schemas.microsoft.com/office/drawing/2014/main" id="{1253C2E3-E517-C2E6-3667-BC8541A00C0E}"/>
              </a:ext>
            </a:extLst>
          </p:cNvPr>
          <p:cNvSpPr/>
          <p:nvPr/>
        </p:nvSpPr>
        <p:spPr>
          <a:xfrm>
            <a:off x="4617816" y="812799"/>
            <a:ext cx="2059262" cy="8961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47" name="Rectangle 46">
            <a:extLst>
              <a:ext uri="{FF2B5EF4-FFF2-40B4-BE49-F238E27FC236}">
                <a16:creationId xmlns:a16="http://schemas.microsoft.com/office/drawing/2014/main" id="{901D0FE5-10AA-35A4-A42A-4B8264727498}"/>
              </a:ext>
            </a:extLst>
          </p:cNvPr>
          <p:cNvSpPr/>
          <p:nvPr/>
        </p:nvSpPr>
        <p:spPr>
          <a:xfrm>
            <a:off x="6843694" y="812799"/>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48" name="object 11">
            <a:extLst>
              <a:ext uri="{FF2B5EF4-FFF2-40B4-BE49-F238E27FC236}">
                <a16:creationId xmlns:a16="http://schemas.microsoft.com/office/drawing/2014/main" id="{DC951DE7-B836-8302-5AAB-CBA14B25C6B6}"/>
              </a:ext>
            </a:extLst>
          </p:cNvPr>
          <p:cNvSpPr/>
          <p:nvPr/>
        </p:nvSpPr>
        <p:spPr>
          <a:xfrm>
            <a:off x="209806" y="812799"/>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49" name="Shape4_20240717_112730">
            <a:extLst>
              <a:ext uri="{FF2B5EF4-FFF2-40B4-BE49-F238E27FC236}">
                <a16:creationId xmlns:a16="http://schemas.microsoft.com/office/drawing/2014/main" id="{3458C8A2-7881-01F4-D3C4-CE6F024B4D72}"/>
              </a:ext>
            </a:extLst>
          </p:cNvPr>
          <p:cNvSpPr txBox="1">
            <a:spLocks/>
          </p:cNvSpPr>
          <p:nvPr/>
        </p:nvSpPr>
        <p:spPr>
          <a:xfrm>
            <a:off x="209806" y="1481321"/>
            <a:ext cx="2059262" cy="590431"/>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lang="en-US" sz="1400" b="0" kern="0" dirty="0">
                <a:solidFill>
                  <a:srgbClr val="222222"/>
                </a:solidFill>
                <a:latin typeface="Neue Haas Grotesk Text Pro" panose="020B0504020202020204" pitchFamily="34" charset="77"/>
                <a:ea typeface="Open Sans"/>
                <a:cs typeface="Open Sans"/>
                <a:sym typeface="Open Sans"/>
              </a:rPr>
              <a:t>SW licensing costs have increased</a:t>
            </a:r>
          </a:p>
        </p:txBody>
      </p:sp>
      <p:sp>
        <p:nvSpPr>
          <p:cNvPr id="50" name="Rectangle 49">
            <a:extLst>
              <a:ext uri="{FF2B5EF4-FFF2-40B4-BE49-F238E27FC236}">
                <a16:creationId xmlns:a16="http://schemas.microsoft.com/office/drawing/2014/main" id="{5FCFD67D-2BC4-C9A2-50AA-822DDBC97A60}"/>
              </a:ext>
            </a:extLst>
          </p:cNvPr>
          <p:cNvSpPr/>
          <p:nvPr/>
        </p:nvSpPr>
        <p:spPr>
          <a:xfrm>
            <a:off x="209806" y="812799"/>
            <a:ext cx="2059262" cy="8961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51" name="object 11">
            <a:extLst>
              <a:ext uri="{FF2B5EF4-FFF2-40B4-BE49-F238E27FC236}">
                <a16:creationId xmlns:a16="http://schemas.microsoft.com/office/drawing/2014/main" id="{420E9752-463A-13DB-1A13-9420CB209F1E}"/>
              </a:ext>
            </a:extLst>
          </p:cNvPr>
          <p:cNvSpPr/>
          <p:nvPr/>
        </p:nvSpPr>
        <p:spPr>
          <a:xfrm>
            <a:off x="2391937" y="2837655"/>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52" name="object 13">
            <a:extLst>
              <a:ext uri="{FF2B5EF4-FFF2-40B4-BE49-F238E27FC236}">
                <a16:creationId xmlns:a16="http://schemas.microsoft.com/office/drawing/2014/main" id="{FB486A85-F965-D083-C756-5A142B331EFD}"/>
              </a:ext>
            </a:extLst>
          </p:cNvPr>
          <p:cNvSpPr/>
          <p:nvPr/>
        </p:nvSpPr>
        <p:spPr>
          <a:xfrm>
            <a:off x="4617816" y="2837655"/>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53" name="object 15">
            <a:extLst>
              <a:ext uri="{FF2B5EF4-FFF2-40B4-BE49-F238E27FC236}">
                <a16:creationId xmlns:a16="http://schemas.microsoft.com/office/drawing/2014/main" id="{5B314FA0-E905-8895-4D5C-C1969E9454E2}"/>
              </a:ext>
            </a:extLst>
          </p:cNvPr>
          <p:cNvSpPr/>
          <p:nvPr/>
        </p:nvSpPr>
        <p:spPr>
          <a:xfrm>
            <a:off x="6843694" y="2837655"/>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54" name="Shape2_20240717_112730">
            <a:extLst>
              <a:ext uri="{FF2B5EF4-FFF2-40B4-BE49-F238E27FC236}">
                <a16:creationId xmlns:a16="http://schemas.microsoft.com/office/drawing/2014/main" id="{D86724F8-275E-3685-7758-AFDD0FCDBFB6}"/>
              </a:ext>
            </a:extLst>
          </p:cNvPr>
          <p:cNvSpPr txBox="1">
            <a:spLocks/>
          </p:cNvSpPr>
          <p:nvPr/>
        </p:nvSpPr>
        <p:spPr>
          <a:xfrm>
            <a:off x="6843694" y="3506177"/>
            <a:ext cx="2059262" cy="590431"/>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What can containers do for me?</a:t>
            </a:r>
          </a:p>
        </p:txBody>
      </p:sp>
      <p:sp>
        <p:nvSpPr>
          <p:cNvPr id="55" name="Shape3_20240717_112730">
            <a:extLst>
              <a:ext uri="{FF2B5EF4-FFF2-40B4-BE49-F238E27FC236}">
                <a16:creationId xmlns:a16="http://schemas.microsoft.com/office/drawing/2014/main" id="{E26A8A38-E8E5-0F99-54B1-B2C77060EC60}"/>
              </a:ext>
            </a:extLst>
          </p:cNvPr>
          <p:cNvSpPr txBox="1">
            <a:spLocks/>
          </p:cNvSpPr>
          <p:nvPr/>
        </p:nvSpPr>
        <p:spPr>
          <a:xfrm>
            <a:off x="4617816" y="3506177"/>
            <a:ext cx="2059262" cy="1025485"/>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Align workload to proper infrastructure to ensure reliability and cost control</a:t>
            </a:r>
          </a:p>
        </p:txBody>
      </p:sp>
      <p:sp>
        <p:nvSpPr>
          <p:cNvPr id="56" name="Shape4_20240717_112730">
            <a:extLst>
              <a:ext uri="{FF2B5EF4-FFF2-40B4-BE49-F238E27FC236}">
                <a16:creationId xmlns:a16="http://schemas.microsoft.com/office/drawing/2014/main" id="{1F838CFA-9A47-58EE-15EE-6D776AE98A99}"/>
              </a:ext>
            </a:extLst>
          </p:cNvPr>
          <p:cNvSpPr txBox="1">
            <a:spLocks/>
          </p:cNvSpPr>
          <p:nvPr/>
        </p:nvSpPr>
        <p:spPr>
          <a:xfrm>
            <a:off x="2391937" y="3506177"/>
            <a:ext cx="2059262" cy="807958"/>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lang="en-US" sz="1400" b="0" kern="0">
                <a:solidFill>
                  <a:srgbClr val="222222"/>
                </a:solidFill>
                <a:latin typeface="Neue Haas Grotesk Text Pro" panose="020B0504020202020204" pitchFamily="34" charset="77"/>
                <a:ea typeface="Open Sans"/>
                <a:cs typeface="Open Sans"/>
                <a:sym typeface="Open Sans"/>
              </a:rPr>
              <a:t>Too Many tools, Observability challenges</a:t>
            </a:r>
            <a:endPar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endParaRPr>
          </a:p>
        </p:txBody>
      </p:sp>
      <p:sp>
        <p:nvSpPr>
          <p:cNvPr id="57" name="Rectangle 56">
            <a:extLst>
              <a:ext uri="{FF2B5EF4-FFF2-40B4-BE49-F238E27FC236}">
                <a16:creationId xmlns:a16="http://schemas.microsoft.com/office/drawing/2014/main" id="{72574E0E-2794-275D-8991-9FBB322547F9}"/>
              </a:ext>
            </a:extLst>
          </p:cNvPr>
          <p:cNvSpPr/>
          <p:nvPr/>
        </p:nvSpPr>
        <p:spPr>
          <a:xfrm>
            <a:off x="2391937" y="2837655"/>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58" name="Rectangle 57">
            <a:extLst>
              <a:ext uri="{FF2B5EF4-FFF2-40B4-BE49-F238E27FC236}">
                <a16:creationId xmlns:a16="http://schemas.microsoft.com/office/drawing/2014/main" id="{4584897E-29ED-BED5-940A-7E989181D5C4}"/>
              </a:ext>
            </a:extLst>
          </p:cNvPr>
          <p:cNvSpPr/>
          <p:nvPr/>
        </p:nvSpPr>
        <p:spPr>
          <a:xfrm>
            <a:off x="4617816" y="2837655"/>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59" name="Rectangle 58">
            <a:extLst>
              <a:ext uri="{FF2B5EF4-FFF2-40B4-BE49-F238E27FC236}">
                <a16:creationId xmlns:a16="http://schemas.microsoft.com/office/drawing/2014/main" id="{25BC9363-317D-A3D8-3082-0F132B662113}"/>
              </a:ext>
            </a:extLst>
          </p:cNvPr>
          <p:cNvSpPr/>
          <p:nvPr/>
        </p:nvSpPr>
        <p:spPr>
          <a:xfrm>
            <a:off x="6843694" y="2837655"/>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0" name="object 11">
            <a:extLst>
              <a:ext uri="{FF2B5EF4-FFF2-40B4-BE49-F238E27FC236}">
                <a16:creationId xmlns:a16="http://schemas.microsoft.com/office/drawing/2014/main" id="{AF6F4EC3-AB2A-B64E-E846-445D93D88C0E}"/>
              </a:ext>
            </a:extLst>
          </p:cNvPr>
          <p:cNvSpPr/>
          <p:nvPr/>
        </p:nvSpPr>
        <p:spPr>
          <a:xfrm>
            <a:off x="209806" y="2837655"/>
            <a:ext cx="2059262" cy="192024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endParaRPr>
              <a:latin typeface="Neue Haas Grotesk Text Pro" panose="020B0504020202020204" pitchFamily="34" charset="0"/>
            </a:endParaRPr>
          </a:p>
        </p:txBody>
      </p:sp>
      <p:sp>
        <p:nvSpPr>
          <p:cNvPr id="61" name="Shape4_20240717_112730">
            <a:extLst>
              <a:ext uri="{FF2B5EF4-FFF2-40B4-BE49-F238E27FC236}">
                <a16:creationId xmlns:a16="http://schemas.microsoft.com/office/drawing/2014/main" id="{8901256A-0C9B-672E-1A00-07E13CBCD5E6}"/>
              </a:ext>
            </a:extLst>
          </p:cNvPr>
          <p:cNvSpPr txBox="1">
            <a:spLocks/>
          </p:cNvSpPr>
          <p:nvPr/>
        </p:nvSpPr>
        <p:spPr>
          <a:xfrm>
            <a:off x="209806" y="3506177"/>
            <a:ext cx="2059262" cy="590431"/>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800" rtl="0" eaLnBrk="1" fontAlgn="auto" latinLnBrk="0" hangingPunct="1">
              <a:lnSpc>
                <a:spcPct val="100000"/>
              </a:lnSpc>
              <a:spcBef>
                <a:spcPts val="0"/>
              </a:spcBef>
              <a:spcAft>
                <a:spcPts val="1200"/>
              </a:spcAft>
              <a:buClr>
                <a:srgbClr val="C00000"/>
              </a:buClr>
              <a:buSzPct val="100000"/>
              <a:buFontTx/>
              <a:buNone/>
              <a:tabLst/>
              <a:defRPr/>
            </a:pPr>
            <a:r>
              <a:rPr kumimoji="0" lang="en-US" sz="1400" b="0" i="0" u="none" strike="noStrike" kern="0" cap="none" spc="0" normalizeH="0" baseline="0" noProof="0" err="1">
                <a:ln>
                  <a:noFill/>
                </a:ln>
                <a:solidFill>
                  <a:srgbClr val="222222"/>
                </a:solidFill>
                <a:effectLst/>
                <a:uLnTx/>
                <a:uFillTx/>
                <a:latin typeface="Neue Haas Grotesk Text Pro" panose="020B0504020202020204" pitchFamily="34" charset="77"/>
                <a:ea typeface="Open Sans"/>
                <a:cs typeface="Open Sans"/>
                <a:sym typeface="Open Sans"/>
              </a:rPr>
              <a:t>GreenLake</a:t>
            </a:r>
            <a:r>
              <a:rPr lang="en-US" sz="1400" b="0" kern="0">
                <a:solidFill>
                  <a:srgbClr val="222222"/>
                </a:solidFill>
                <a:latin typeface="Neue Haas Grotesk Text Pro" panose="020B0504020202020204" pitchFamily="34" charset="77"/>
                <a:ea typeface="Open Sans"/>
                <a:cs typeface="Open Sans"/>
                <a:sym typeface="Open Sans"/>
              </a:rPr>
              <a:t>, </a:t>
            </a: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Apex, </a:t>
            </a:r>
            <a:r>
              <a:rPr kumimoji="0" lang="en-US" sz="1400" b="0" i="0" u="none" strike="noStrike" kern="0" cap="none" spc="0" normalizeH="0" baseline="0" noProof="0" err="1">
                <a:ln>
                  <a:noFill/>
                </a:ln>
                <a:solidFill>
                  <a:srgbClr val="222222"/>
                </a:solidFill>
                <a:effectLst/>
                <a:uLnTx/>
                <a:uFillTx/>
                <a:latin typeface="Neue Haas Grotesk Text Pro" panose="020B0504020202020204" pitchFamily="34" charset="77"/>
                <a:ea typeface="Open Sans"/>
                <a:cs typeface="Open Sans"/>
                <a:sym typeface="Open Sans"/>
              </a:rPr>
              <a:t>KeyStone</a:t>
            </a:r>
            <a:r>
              <a:rPr kumimoji="0" lang="en-US" sz="1400" b="0" i="0" u="none" strike="noStrike" kern="0" cap="none" spc="0" normalizeH="0" baseline="0" noProof="0">
                <a:ln>
                  <a:noFill/>
                </a:ln>
                <a:solidFill>
                  <a:srgbClr val="222222"/>
                </a:solidFill>
                <a:effectLst/>
                <a:uLnTx/>
                <a:uFillTx/>
                <a:latin typeface="Neue Haas Grotesk Text Pro" panose="020B0504020202020204" pitchFamily="34" charset="77"/>
                <a:ea typeface="Open Sans"/>
                <a:cs typeface="Open Sans"/>
                <a:sym typeface="Open Sans"/>
              </a:rPr>
              <a:t> consumers</a:t>
            </a:r>
          </a:p>
        </p:txBody>
      </p:sp>
      <p:sp>
        <p:nvSpPr>
          <p:cNvPr id="62" name="Rectangle 61">
            <a:extLst>
              <a:ext uri="{FF2B5EF4-FFF2-40B4-BE49-F238E27FC236}">
                <a16:creationId xmlns:a16="http://schemas.microsoft.com/office/drawing/2014/main" id="{10D2FFAE-95C1-97F4-0A13-D929CE13B4EC}"/>
              </a:ext>
            </a:extLst>
          </p:cNvPr>
          <p:cNvSpPr/>
          <p:nvPr/>
        </p:nvSpPr>
        <p:spPr>
          <a:xfrm>
            <a:off x="209806" y="2837655"/>
            <a:ext cx="2059262" cy="89611"/>
          </a:xfrm>
          <a:prstGeom prst="rect">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3" name="Flowchart: Delay 62">
            <a:extLst>
              <a:ext uri="{FF2B5EF4-FFF2-40B4-BE49-F238E27FC236}">
                <a16:creationId xmlns:a16="http://schemas.microsoft.com/office/drawing/2014/main" id="{CABC5C7C-141A-EC59-7997-31315C090705}"/>
              </a:ext>
            </a:extLst>
          </p:cNvPr>
          <p:cNvSpPr/>
          <p:nvPr/>
        </p:nvSpPr>
        <p:spPr>
          <a:xfrm rot="5400000">
            <a:off x="3168408" y="812799"/>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4" name="Flowchart: Delay 63">
            <a:extLst>
              <a:ext uri="{FF2B5EF4-FFF2-40B4-BE49-F238E27FC236}">
                <a16:creationId xmlns:a16="http://schemas.microsoft.com/office/drawing/2014/main" id="{D9AEC6EE-8878-3A93-A334-5246C35BE2EB}"/>
              </a:ext>
            </a:extLst>
          </p:cNvPr>
          <p:cNvSpPr/>
          <p:nvPr/>
        </p:nvSpPr>
        <p:spPr>
          <a:xfrm rot="5400000">
            <a:off x="7620165" y="812799"/>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5" name="Flowchart: Delay 64">
            <a:extLst>
              <a:ext uri="{FF2B5EF4-FFF2-40B4-BE49-F238E27FC236}">
                <a16:creationId xmlns:a16="http://schemas.microsoft.com/office/drawing/2014/main" id="{FA4D83E8-13A3-EDA1-02BE-A6E1E5B5C28F}"/>
              </a:ext>
            </a:extLst>
          </p:cNvPr>
          <p:cNvSpPr/>
          <p:nvPr/>
        </p:nvSpPr>
        <p:spPr>
          <a:xfrm rot="5400000">
            <a:off x="5394287" y="812799"/>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6" name="Flowchart: Delay 65">
            <a:extLst>
              <a:ext uri="{FF2B5EF4-FFF2-40B4-BE49-F238E27FC236}">
                <a16:creationId xmlns:a16="http://schemas.microsoft.com/office/drawing/2014/main" id="{743BD134-D676-39CC-2FDE-BBE342FB7124}"/>
              </a:ext>
            </a:extLst>
          </p:cNvPr>
          <p:cNvSpPr/>
          <p:nvPr/>
        </p:nvSpPr>
        <p:spPr>
          <a:xfrm rot="5400000">
            <a:off x="986277" y="812799"/>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7" name="Flowchart: Delay 66">
            <a:extLst>
              <a:ext uri="{FF2B5EF4-FFF2-40B4-BE49-F238E27FC236}">
                <a16:creationId xmlns:a16="http://schemas.microsoft.com/office/drawing/2014/main" id="{F83AE699-BAD5-BF85-B36B-29345F192F80}"/>
              </a:ext>
            </a:extLst>
          </p:cNvPr>
          <p:cNvSpPr/>
          <p:nvPr/>
        </p:nvSpPr>
        <p:spPr>
          <a:xfrm rot="5400000">
            <a:off x="3168408" y="2837655"/>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8" name="Flowchart: Delay 67">
            <a:extLst>
              <a:ext uri="{FF2B5EF4-FFF2-40B4-BE49-F238E27FC236}">
                <a16:creationId xmlns:a16="http://schemas.microsoft.com/office/drawing/2014/main" id="{C1686372-8809-D68E-F1D6-752068E8207B}"/>
              </a:ext>
            </a:extLst>
          </p:cNvPr>
          <p:cNvSpPr/>
          <p:nvPr/>
        </p:nvSpPr>
        <p:spPr>
          <a:xfrm rot="5400000">
            <a:off x="7620165" y="2837655"/>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69" name="Flowchart: Delay 68">
            <a:extLst>
              <a:ext uri="{FF2B5EF4-FFF2-40B4-BE49-F238E27FC236}">
                <a16:creationId xmlns:a16="http://schemas.microsoft.com/office/drawing/2014/main" id="{AE1672F6-A428-B3FA-1832-3225DDAF80C3}"/>
              </a:ext>
            </a:extLst>
          </p:cNvPr>
          <p:cNvSpPr/>
          <p:nvPr/>
        </p:nvSpPr>
        <p:spPr>
          <a:xfrm rot="5400000">
            <a:off x="5394287" y="2837655"/>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sp>
        <p:nvSpPr>
          <p:cNvPr id="70" name="Flowchart: Delay 69">
            <a:extLst>
              <a:ext uri="{FF2B5EF4-FFF2-40B4-BE49-F238E27FC236}">
                <a16:creationId xmlns:a16="http://schemas.microsoft.com/office/drawing/2014/main" id="{A478E50C-4A9F-3F1E-AF0A-027475816A5B}"/>
              </a:ext>
            </a:extLst>
          </p:cNvPr>
          <p:cNvSpPr/>
          <p:nvPr/>
        </p:nvSpPr>
        <p:spPr>
          <a:xfrm rot="5400000">
            <a:off x="986277" y="2837655"/>
            <a:ext cx="506321" cy="506321"/>
          </a:xfrm>
          <a:prstGeom prst="flowChartDelay">
            <a:avLst/>
          </a:prstGeom>
          <a:solidFill>
            <a:srgbClr val="CC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8">
              <a:buClr>
                <a:srgbClr val="000000"/>
              </a:buClr>
            </a:pPr>
            <a:endParaRPr lang="en-US" sz="800" kern="0">
              <a:solidFill>
                <a:srgbClr val="FFFFFF"/>
              </a:solidFill>
              <a:latin typeface="Neue Haas Grotesk Text Pro" panose="020B0504020202020204" pitchFamily="34" charset="0"/>
            </a:endParaRPr>
          </a:p>
        </p:txBody>
      </p:sp>
      <p:pic>
        <p:nvPicPr>
          <p:cNvPr id="71" name="Graphic 70">
            <a:extLst>
              <a:ext uri="{FF2B5EF4-FFF2-40B4-BE49-F238E27FC236}">
                <a16:creationId xmlns:a16="http://schemas.microsoft.com/office/drawing/2014/main" id="{88A832BA-15DE-2C24-6201-E499C0660262}"/>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9359" y="918261"/>
            <a:ext cx="280157" cy="280157"/>
          </a:xfrm>
          <a:prstGeom prst="rect">
            <a:avLst/>
          </a:prstGeom>
        </p:spPr>
      </p:pic>
      <p:pic>
        <p:nvPicPr>
          <p:cNvPr id="72" name="Graphic 71">
            <a:extLst>
              <a:ext uri="{FF2B5EF4-FFF2-40B4-BE49-F238E27FC236}">
                <a16:creationId xmlns:a16="http://schemas.microsoft.com/office/drawing/2014/main" id="{353A6721-66CA-A324-B47F-98763E24472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33248" y="2943117"/>
            <a:ext cx="280157" cy="280157"/>
          </a:xfrm>
          <a:prstGeom prst="rect">
            <a:avLst/>
          </a:prstGeom>
        </p:spPr>
      </p:pic>
      <p:pic>
        <p:nvPicPr>
          <p:cNvPr id="73" name="Graphic 72">
            <a:extLst>
              <a:ext uri="{FF2B5EF4-FFF2-40B4-BE49-F238E27FC236}">
                <a16:creationId xmlns:a16="http://schemas.microsoft.com/office/drawing/2014/main" id="{F513CFA0-00E2-E09D-1081-48145CD91EE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07369" y="2943117"/>
            <a:ext cx="280157" cy="280157"/>
          </a:xfrm>
          <a:prstGeom prst="rect">
            <a:avLst/>
          </a:prstGeom>
        </p:spPr>
      </p:pic>
      <p:pic>
        <p:nvPicPr>
          <p:cNvPr id="74" name="Graphic 73">
            <a:extLst>
              <a:ext uri="{FF2B5EF4-FFF2-40B4-BE49-F238E27FC236}">
                <a16:creationId xmlns:a16="http://schemas.microsoft.com/office/drawing/2014/main" id="{F912BABE-BE09-168A-19EB-66BAEEC02FB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81490" y="2943117"/>
            <a:ext cx="280157" cy="280157"/>
          </a:xfrm>
          <a:prstGeom prst="rect">
            <a:avLst/>
          </a:prstGeom>
        </p:spPr>
      </p:pic>
      <p:pic>
        <p:nvPicPr>
          <p:cNvPr id="75" name="Graphic 74">
            <a:extLst>
              <a:ext uri="{FF2B5EF4-FFF2-40B4-BE49-F238E27FC236}">
                <a16:creationId xmlns:a16="http://schemas.microsoft.com/office/drawing/2014/main" id="{D22DDB59-BAD1-DC89-40E8-DE9F214EF0E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9359" y="2943117"/>
            <a:ext cx="280157" cy="280157"/>
          </a:xfrm>
          <a:prstGeom prst="rect">
            <a:avLst/>
          </a:prstGeom>
        </p:spPr>
      </p:pic>
      <p:pic>
        <p:nvPicPr>
          <p:cNvPr id="76" name="Graphic 75">
            <a:extLst>
              <a:ext uri="{FF2B5EF4-FFF2-40B4-BE49-F238E27FC236}">
                <a16:creationId xmlns:a16="http://schemas.microsoft.com/office/drawing/2014/main" id="{13257652-721D-DAF3-8A2B-B787296524C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33248" y="918261"/>
            <a:ext cx="280157" cy="280157"/>
          </a:xfrm>
          <a:prstGeom prst="rect">
            <a:avLst/>
          </a:prstGeom>
        </p:spPr>
      </p:pic>
      <p:pic>
        <p:nvPicPr>
          <p:cNvPr id="77" name="Graphic 76">
            <a:extLst>
              <a:ext uri="{FF2B5EF4-FFF2-40B4-BE49-F238E27FC236}">
                <a16:creationId xmlns:a16="http://schemas.microsoft.com/office/drawing/2014/main" id="{55B82406-047E-E36E-4B34-0B8B74ABB350}"/>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80817" y="925208"/>
            <a:ext cx="281503" cy="281503"/>
          </a:xfrm>
          <a:prstGeom prst="rect">
            <a:avLst/>
          </a:prstGeom>
        </p:spPr>
      </p:pic>
      <p:pic>
        <p:nvPicPr>
          <p:cNvPr id="78" name="Graphic 77">
            <a:extLst>
              <a:ext uri="{FF2B5EF4-FFF2-40B4-BE49-F238E27FC236}">
                <a16:creationId xmlns:a16="http://schemas.microsoft.com/office/drawing/2014/main" id="{042ACDD3-3DB8-3763-380B-37DA5E05F55B}"/>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507369" y="918261"/>
            <a:ext cx="280157" cy="280157"/>
          </a:xfrm>
          <a:prstGeom prst="rect">
            <a:avLst/>
          </a:prstGeom>
        </p:spPr>
      </p:pic>
    </p:spTree>
    <p:extLst>
      <p:ext uri="{BB962C8B-B14F-4D97-AF65-F5344CB8AC3E}">
        <p14:creationId xmlns:p14="http://schemas.microsoft.com/office/powerpoint/2010/main" val="20104200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latin typeface="Neue Haas Grotesk Text Pro" panose="020B0504020202020204" pitchFamily="34" charset="0"/>
              </a:rPr>
              <a:t>Trends Impacting the Data Center</a:t>
            </a:r>
            <a:endParaRPr lang="en-US" sz="1800" b="0">
              <a:latin typeface="Neue Haas Grotesk Text Pro" panose="020B0504020202020204" pitchFamily="34" charset="0"/>
            </a:endParaRPr>
          </a:p>
        </p:txBody>
      </p:sp>
      <p:sp>
        <p:nvSpPr>
          <p:cNvPr id="19" name="object 11">
            <a:extLst>
              <a:ext uri="{FF2B5EF4-FFF2-40B4-BE49-F238E27FC236}">
                <a16:creationId xmlns:a16="http://schemas.microsoft.com/office/drawing/2014/main" id="{7A431E24-4D0F-8ACF-2AE8-285A522C3544}"/>
              </a:ext>
            </a:extLst>
          </p:cNvPr>
          <p:cNvSpPr/>
          <p:nvPr/>
        </p:nvSpPr>
        <p:spPr>
          <a:xfrm>
            <a:off x="202688" y="1030959"/>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0" name="object 13">
            <a:extLst>
              <a:ext uri="{FF2B5EF4-FFF2-40B4-BE49-F238E27FC236}">
                <a16:creationId xmlns:a16="http://schemas.microsoft.com/office/drawing/2014/main" id="{362DA18C-72F7-4A8E-D1AC-941303126A88}"/>
              </a:ext>
            </a:extLst>
          </p:cNvPr>
          <p:cNvSpPr/>
          <p:nvPr/>
        </p:nvSpPr>
        <p:spPr>
          <a:xfrm>
            <a:off x="2251273" y="1030959"/>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1" name="object 15">
            <a:extLst>
              <a:ext uri="{FF2B5EF4-FFF2-40B4-BE49-F238E27FC236}">
                <a16:creationId xmlns:a16="http://schemas.microsoft.com/office/drawing/2014/main" id="{E9ED4E4A-BF25-A474-4D95-5DF4222933C1}"/>
              </a:ext>
            </a:extLst>
          </p:cNvPr>
          <p:cNvSpPr/>
          <p:nvPr/>
        </p:nvSpPr>
        <p:spPr>
          <a:xfrm>
            <a:off x="4299857" y="1030959"/>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2" name="object 11">
            <a:extLst>
              <a:ext uri="{FF2B5EF4-FFF2-40B4-BE49-F238E27FC236}">
                <a16:creationId xmlns:a16="http://schemas.microsoft.com/office/drawing/2014/main" id="{4FFDAF58-CD76-B0C8-824F-B97A6A3750EF}"/>
              </a:ext>
            </a:extLst>
          </p:cNvPr>
          <p:cNvSpPr/>
          <p:nvPr/>
        </p:nvSpPr>
        <p:spPr>
          <a:xfrm>
            <a:off x="202688" y="2808872"/>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3" name="object 13">
            <a:extLst>
              <a:ext uri="{FF2B5EF4-FFF2-40B4-BE49-F238E27FC236}">
                <a16:creationId xmlns:a16="http://schemas.microsoft.com/office/drawing/2014/main" id="{53540EE5-572F-F9F0-BE8E-6B9FF40F9E35}"/>
              </a:ext>
            </a:extLst>
          </p:cNvPr>
          <p:cNvSpPr/>
          <p:nvPr/>
        </p:nvSpPr>
        <p:spPr>
          <a:xfrm>
            <a:off x="2251273" y="2808872"/>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4" name="object 15">
            <a:extLst>
              <a:ext uri="{FF2B5EF4-FFF2-40B4-BE49-F238E27FC236}">
                <a16:creationId xmlns:a16="http://schemas.microsoft.com/office/drawing/2014/main" id="{E749ECE7-86D5-AD03-0ED8-1CA06CFF9E72}"/>
              </a:ext>
            </a:extLst>
          </p:cNvPr>
          <p:cNvSpPr/>
          <p:nvPr/>
        </p:nvSpPr>
        <p:spPr>
          <a:xfrm>
            <a:off x="4299857" y="2808872"/>
            <a:ext cx="1895239" cy="1656899"/>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25" name="TextBox 24">
            <a:extLst>
              <a:ext uri="{FF2B5EF4-FFF2-40B4-BE49-F238E27FC236}">
                <a16:creationId xmlns:a16="http://schemas.microsoft.com/office/drawing/2014/main" id="{E6B474F8-EBA6-E61B-F6B5-C4D9BD911843}"/>
              </a:ext>
            </a:extLst>
          </p:cNvPr>
          <p:cNvSpPr txBox="1"/>
          <p:nvPr/>
        </p:nvSpPr>
        <p:spPr>
          <a:xfrm>
            <a:off x="1044509" y="1860835"/>
            <a:ext cx="211596"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AI</a:t>
            </a:r>
          </a:p>
        </p:txBody>
      </p:sp>
      <p:sp>
        <p:nvSpPr>
          <p:cNvPr id="26" name="TextBox 25">
            <a:extLst>
              <a:ext uri="{FF2B5EF4-FFF2-40B4-BE49-F238E27FC236}">
                <a16:creationId xmlns:a16="http://schemas.microsoft.com/office/drawing/2014/main" id="{047B2231-9D87-6310-95E4-D9345348486F}"/>
              </a:ext>
            </a:extLst>
          </p:cNvPr>
          <p:cNvSpPr txBox="1"/>
          <p:nvPr/>
        </p:nvSpPr>
        <p:spPr>
          <a:xfrm>
            <a:off x="2597766" y="1860835"/>
            <a:ext cx="1202252"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Sovereignty</a:t>
            </a:r>
          </a:p>
        </p:txBody>
      </p:sp>
      <p:sp>
        <p:nvSpPr>
          <p:cNvPr id="27" name="TextBox 26">
            <a:extLst>
              <a:ext uri="{FF2B5EF4-FFF2-40B4-BE49-F238E27FC236}">
                <a16:creationId xmlns:a16="http://schemas.microsoft.com/office/drawing/2014/main" id="{8ACC73C3-561B-6546-A3E3-5F319770D3DB}"/>
              </a:ext>
            </a:extLst>
          </p:cNvPr>
          <p:cNvSpPr txBox="1"/>
          <p:nvPr/>
        </p:nvSpPr>
        <p:spPr>
          <a:xfrm>
            <a:off x="4630320" y="1860835"/>
            <a:ext cx="1234312"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Repatriation</a:t>
            </a:r>
          </a:p>
        </p:txBody>
      </p:sp>
      <p:sp>
        <p:nvSpPr>
          <p:cNvPr id="28" name="TextBox 27">
            <a:extLst>
              <a:ext uri="{FF2B5EF4-FFF2-40B4-BE49-F238E27FC236}">
                <a16:creationId xmlns:a16="http://schemas.microsoft.com/office/drawing/2014/main" id="{1B65EBCE-622C-27BF-D15A-3AECF2CD2F3C}"/>
              </a:ext>
            </a:extLst>
          </p:cNvPr>
          <p:cNvSpPr txBox="1"/>
          <p:nvPr/>
        </p:nvSpPr>
        <p:spPr>
          <a:xfrm>
            <a:off x="732725" y="3638748"/>
            <a:ext cx="835165"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Security</a:t>
            </a:r>
          </a:p>
        </p:txBody>
      </p:sp>
      <p:sp>
        <p:nvSpPr>
          <p:cNvPr id="29" name="TextBox 28">
            <a:extLst>
              <a:ext uri="{FF2B5EF4-FFF2-40B4-BE49-F238E27FC236}">
                <a16:creationId xmlns:a16="http://schemas.microsoft.com/office/drawing/2014/main" id="{66DEDF68-0CBB-B2CB-AAB5-20AAA28835ED}"/>
              </a:ext>
            </a:extLst>
          </p:cNvPr>
          <p:cNvSpPr txBox="1"/>
          <p:nvPr/>
        </p:nvSpPr>
        <p:spPr>
          <a:xfrm>
            <a:off x="2524028" y="3638748"/>
            <a:ext cx="1349728"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Sustainability</a:t>
            </a:r>
          </a:p>
        </p:txBody>
      </p:sp>
      <p:sp>
        <p:nvSpPr>
          <p:cNvPr id="30" name="TextBox 29">
            <a:extLst>
              <a:ext uri="{FF2B5EF4-FFF2-40B4-BE49-F238E27FC236}">
                <a16:creationId xmlns:a16="http://schemas.microsoft.com/office/drawing/2014/main" id="{A556BE87-9BBC-9923-380F-6A9C23DF30F8}"/>
              </a:ext>
            </a:extLst>
          </p:cNvPr>
          <p:cNvSpPr txBox="1"/>
          <p:nvPr/>
        </p:nvSpPr>
        <p:spPr>
          <a:xfrm>
            <a:off x="4594252" y="3638748"/>
            <a:ext cx="1306448" cy="338554"/>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Performance</a:t>
            </a:r>
          </a:p>
        </p:txBody>
      </p:sp>
      <p:sp>
        <p:nvSpPr>
          <p:cNvPr id="31" name="Rectangle 30">
            <a:extLst>
              <a:ext uri="{FF2B5EF4-FFF2-40B4-BE49-F238E27FC236}">
                <a16:creationId xmlns:a16="http://schemas.microsoft.com/office/drawing/2014/main" id="{4CEB3FA3-D78C-1982-70E3-BF5A1456D389}"/>
              </a:ext>
            </a:extLst>
          </p:cNvPr>
          <p:cNvSpPr/>
          <p:nvPr/>
        </p:nvSpPr>
        <p:spPr>
          <a:xfrm>
            <a:off x="202688" y="1030958"/>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2" name="Rectangle 31">
            <a:extLst>
              <a:ext uri="{FF2B5EF4-FFF2-40B4-BE49-F238E27FC236}">
                <a16:creationId xmlns:a16="http://schemas.microsoft.com/office/drawing/2014/main" id="{2C13E4F1-E0A2-46A4-1D83-B6E91BADACD1}"/>
              </a:ext>
            </a:extLst>
          </p:cNvPr>
          <p:cNvSpPr/>
          <p:nvPr/>
        </p:nvSpPr>
        <p:spPr>
          <a:xfrm>
            <a:off x="2251273" y="1030958"/>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3" name="Flowchart: Delay 32">
            <a:extLst>
              <a:ext uri="{FF2B5EF4-FFF2-40B4-BE49-F238E27FC236}">
                <a16:creationId xmlns:a16="http://schemas.microsoft.com/office/drawing/2014/main" id="{2C50D9B9-E0C8-7FC3-1C4A-FB6FE70066F9}"/>
              </a:ext>
            </a:extLst>
          </p:cNvPr>
          <p:cNvSpPr/>
          <p:nvPr/>
        </p:nvSpPr>
        <p:spPr>
          <a:xfrm rot="5400000">
            <a:off x="897147" y="1030958"/>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4" name="Flowchart: Delay 33">
            <a:extLst>
              <a:ext uri="{FF2B5EF4-FFF2-40B4-BE49-F238E27FC236}">
                <a16:creationId xmlns:a16="http://schemas.microsoft.com/office/drawing/2014/main" id="{6AD625EB-93A6-6BBC-43C2-18E59FF760C5}"/>
              </a:ext>
            </a:extLst>
          </p:cNvPr>
          <p:cNvSpPr/>
          <p:nvPr/>
        </p:nvSpPr>
        <p:spPr>
          <a:xfrm rot="5400000">
            <a:off x="2945732" y="1030958"/>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5" name="Rectangle 34">
            <a:extLst>
              <a:ext uri="{FF2B5EF4-FFF2-40B4-BE49-F238E27FC236}">
                <a16:creationId xmlns:a16="http://schemas.microsoft.com/office/drawing/2014/main" id="{52F49527-7137-FDD1-F3E3-897B22111AE1}"/>
              </a:ext>
            </a:extLst>
          </p:cNvPr>
          <p:cNvSpPr/>
          <p:nvPr/>
        </p:nvSpPr>
        <p:spPr>
          <a:xfrm>
            <a:off x="4299857" y="1030958"/>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6" name="Flowchart: Delay 35">
            <a:extLst>
              <a:ext uri="{FF2B5EF4-FFF2-40B4-BE49-F238E27FC236}">
                <a16:creationId xmlns:a16="http://schemas.microsoft.com/office/drawing/2014/main" id="{A52BEEDE-A228-1A90-C95B-93E7280A7602}"/>
              </a:ext>
            </a:extLst>
          </p:cNvPr>
          <p:cNvSpPr/>
          <p:nvPr/>
        </p:nvSpPr>
        <p:spPr>
          <a:xfrm rot="5400000">
            <a:off x="4994316" y="1030958"/>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7" name="Rectangle 36">
            <a:extLst>
              <a:ext uri="{FF2B5EF4-FFF2-40B4-BE49-F238E27FC236}">
                <a16:creationId xmlns:a16="http://schemas.microsoft.com/office/drawing/2014/main" id="{7CB32707-DDC5-AB4E-FA3E-F4276CB677A9}"/>
              </a:ext>
            </a:extLst>
          </p:cNvPr>
          <p:cNvSpPr/>
          <p:nvPr/>
        </p:nvSpPr>
        <p:spPr>
          <a:xfrm>
            <a:off x="202688" y="2808872"/>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8" name="Rectangle 37">
            <a:extLst>
              <a:ext uri="{FF2B5EF4-FFF2-40B4-BE49-F238E27FC236}">
                <a16:creationId xmlns:a16="http://schemas.microsoft.com/office/drawing/2014/main" id="{CD620F61-1916-3946-A0D0-16F995096CD9}"/>
              </a:ext>
            </a:extLst>
          </p:cNvPr>
          <p:cNvSpPr/>
          <p:nvPr/>
        </p:nvSpPr>
        <p:spPr>
          <a:xfrm>
            <a:off x="2251273" y="2808872"/>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9" name="Flowchart: Delay 38">
            <a:extLst>
              <a:ext uri="{FF2B5EF4-FFF2-40B4-BE49-F238E27FC236}">
                <a16:creationId xmlns:a16="http://schemas.microsoft.com/office/drawing/2014/main" id="{73F69BCD-133F-DA42-1D93-F5291428887D}"/>
              </a:ext>
            </a:extLst>
          </p:cNvPr>
          <p:cNvSpPr/>
          <p:nvPr/>
        </p:nvSpPr>
        <p:spPr>
          <a:xfrm rot="5400000">
            <a:off x="897147" y="2808872"/>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0" name="Flowchart: Delay 39">
            <a:extLst>
              <a:ext uri="{FF2B5EF4-FFF2-40B4-BE49-F238E27FC236}">
                <a16:creationId xmlns:a16="http://schemas.microsoft.com/office/drawing/2014/main" id="{66AE15CF-CBC5-3C6C-AC9A-A0578C638607}"/>
              </a:ext>
            </a:extLst>
          </p:cNvPr>
          <p:cNvSpPr/>
          <p:nvPr/>
        </p:nvSpPr>
        <p:spPr>
          <a:xfrm rot="5400000">
            <a:off x="2945732" y="2808872"/>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5" name="Rectangle 44">
            <a:extLst>
              <a:ext uri="{FF2B5EF4-FFF2-40B4-BE49-F238E27FC236}">
                <a16:creationId xmlns:a16="http://schemas.microsoft.com/office/drawing/2014/main" id="{FF3EB977-6B0E-52ED-143D-6E1A9901F33F}"/>
              </a:ext>
            </a:extLst>
          </p:cNvPr>
          <p:cNvSpPr/>
          <p:nvPr/>
        </p:nvSpPr>
        <p:spPr>
          <a:xfrm>
            <a:off x="4299857" y="2808872"/>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6" name="Flowchart: Delay 45">
            <a:extLst>
              <a:ext uri="{FF2B5EF4-FFF2-40B4-BE49-F238E27FC236}">
                <a16:creationId xmlns:a16="http://schemas.microsoft.com/office/drawing/2014/main" id="{ECF865AC-5E0A-41F1-8DA0-361CF6284D2D}"/>
              </a:ext>
            </a:extLst>
          </p:cNvPr>
          <p:cNvSpPr/>
          <p:nvPr/>
        </p:nvSpPr>
        <p:spPr>
          <a:xfrm rot="5400000">
            <a:off x="4994316" y="2808872"/>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7" name="Freeform 111">
            <a:extLst>
              <a:ext uri="{FF2B5EF4-FFF2-40B4-BE49-F238E27FC236}">
                <a16:creationId xmlns:a16="http://schemas.microsoft.com/office/drawing/2014/main" id="{6BD3E68A-0345-B11A-7E1B-102B8E03A3F9}"/>
              </a:ext>
            </a:extLst>
          </p:cNvPr>
          <p:cNvSpPr/>
          <p:nvPr/>
        </p:nvSpPr>
        <p:spPr>
          <a:xfrm>
            <a:off x="1030768" y="1136150"/>
            <a:ext cx="239079" cy="274997"/>
          </a:xfrm>
          <a:custGeom>
            <a:avLst/>
            <a:gdLst>
              <a:gd name="connsiteX0" fmla="*/ 32099 w 509277"/>
              <a:gd name="connsiteY0" fmla="*/ 282607 h 585787"/>
              <a:gd name="connsiteX1" fmla="*/ 24670 w 509277"/>
              <a:gd name="connsiteY1" fmla="*/ 290322 h 585787"/>
              <a:gd name="connsiteX2" fmla="*/ 21717 w 509277"/>
              <a:gd name="connsiteY2" fmla="*/ 294132 h 585787"/>
              <a:gd name="connsiteX3" fmla="*/ 18193 w 509277"/>
              <a:gd name="connsiteY3" fmla="*/ 298704 h 585787"/>
              <a:gd name="connsiteX4" fmla="*/ 14192 w 509277"/>
              <a:gd name="connsiteY4" fmla="*/ 305086 h 585787"/>
              <a:gd name="connsiteX5" fmla="*/ 12668 w 509277"/>
              <a:gd name="connsiteY5" fmla="*/ 307658 h 585787"/>
              <a:gd name="connsiteX6" fmla="*/ 9144 w 509277"/>
              <a:gd name="connsiteY6" fmla="*/ 314706 h 585787"/>
              <a:gd name="connsiteX7" fmla="*/ 8001 w 509277"/>
              <a:gd name="connsiteY7" fmla="*/ 317278 h 585787"/>
              <a:gd name="connsiteX8" fmla="*/ 5334 w 509277"/>
              <a:gd name="connsiteY8" fmla="*/ 324517 h 585787"/>
              <a:gd name="connsiteX9" fmla="*/ 4286 w 509277"/>
              <a:gd name="connsiteY9" fmla="*/ 327851 h 585787"/>
              <a:gd name="connsiteX10" fmla="*/ 2477 w 509277"/>
              <a:gd name="connsiteY10" fmla="*/ 334613 h 585787"/>
              <a:gd name="connsiteX11" fmla="*/ 1524 w 509277"/>
              <a:gd name="connsiteY11" fmla="*/ 339757 h 585787"/>
              <a:gd name="connsiteX12" fmla="*/ 667 w 509277"/>
              <a:gd name="connsiteY12" fmla="*/ 345186 h 585787"/>
              <a:gd name="connsiteX13" fmla="*/ 0 w 509277"/>
              <a:gd name="connsiteY13" fmla="*/ 356330 h 585787"/>
              <a:gd name="connsiteX14" fmla="*/ 476 w 509277"/>
              <a:gd name="connsiteY14" fmla="*/ 365570 h 585787"/>
              <a:gd name="connsiteX15" fmla="*/ 762 w 509277"/>
              <a:gd name="connsiteY15" fmla="*/ 368427 h 585787"/>
              <a:gd name="connsiteX16" fmla="*/ 1715 w 509277"/>
              <a:gd name="connsiteY16" fmla="*/ 374809 h 585787"/>
              <a:gd name="connsiteX17" fmla="*/ 2286 w 509277"/>
              <a:gd name="connsiteY17" fmla="*/ 377761 h 585787"/>
              <a:gd name="connsiteX18" fmla="*/ 4382 w 509277"/>
              <a:gd name="connsiteY18" fmla="*/ 386048 h 585787"/>
              <a:gd name="connsiteX19" fmla="*/ 5048 w 509277"/>
              <a:gd name="connsiteY19" fmla="*/ 388049 h 585787"/>
              <a:gd name="connsiteX20" fmla="*/ 7334 w 509277"/>
              <a:gd name="connsiteY20" fmla="*/ 394335 h 585787"/>
              <a:gd name="connsiteX21" fmla="*/ 8668 w 509277"/>
              <a:gd name="connsiteY21" fmla="*/ 397383 h 585787"/>
              <a:gd name="connsiteX22" fmla="*/ 11240 w 509277"/>
              <a:gd name="connsiteY22" fmla="*/ 402622 h 585787"/>
              <a:gd name="connsiteX23" fmla="*/ 12668 w 509277"/>
              <a:gd name="connsiteY23" fmla="*/ 405289 h 585787"/>
              <a:gd name="connsiteX24" fmla="*/ 17145 w 509277"/>
              <a:gd name="connsiteY24" fmla="*/ 412623 h 585787"/>
              <a:gd name="connsiteX25" fmla="*/ 18002 w 509277"/>
              <a:gd name="connsiteY25" fmla="*/ 413766 h 585787"/>
              <a:gd name="connsiteX26" fmla="*/ 22384 w 509277"/>
              <a:gd name="connsiteY26" fmla="*/ 419672 h 585787"/>
              <a:gd name="connsiteX27" fmla="*/ 24194 w 509277"/>
              <a:gd name="connsiteY27" fmla="*/ 421767 h 585787"/>
              <a:gd name="connsiteX28" fmla="*/ 28480 w 509277"/>
              <a:gd name="connsiteY28" fmla="*/ 426530 h 585787"/>
              <a:gd name="connsiteX29" fmla="*/ 30290 w 509277"/>
              <a:gd name="connsiteY29" fmla="*/ 428435 h 585787"/>
              <a:gd name="connsiteX30" fmla="*/ 36671 w 509277"/>
              <a:gd name="connsiteY30" fmla="*/ 434245 h 585787"/>
              <a:gd name="connsiteX31" fmla="*/ 37909 w 509277"/>
              <a:gd name="connsiteY31" fmla="*/ 435197 h 585787"/>
              <a:gd name="connsiteX32" fmla="*/ 43434 w 509277"/>
              <a:gd name="connsiteY32" fmla="*/ 439388 h 585787"/>
              <a:gd name="connsiteX33" fmla="*/ 46672 w 509277"/>
              <a:gd name="connsiteY33" fmla="*/ 441579 h 585787"/>
              <a:gd name="connsiteX34" fmla="*/ 50483 w 509277"/>
              <a:gd name="connsiteY34" fmla="*/ 443865 h 585787"/>
              <a:gd name="connsiteX35" fmla="*/ 54578 w 509277"/>
              <a:gd name="connsiteY35" fmla="*/ 446151 h 585787"/>
              <a:gd name="connsiteX36" fmla="*/ 57436 w 509277"/>
              <a:gd name="connsiteY36" fmla="*/ 447580 h 585787"/>
              <a:gd name="connsiteX37" fmla="*/ 62008 w 509277"/>
              <a:gd name="connsiteY37" fmla="*/ 449771 h 585787"/>
              <a:gd name="connsiteX38" fmla="*/ 60389 w 509277"/>
              <a:gd name="connsiteY38" fmla="*/ 465582 h 585787"/>
              <a:gd name="connsiteX39" fmla="*/ 143256 w 509277"/>
              <a:gd name="connsiteY39" fmla="*/ 548449 h 585787"/>
              <a:gd name="connsiteX40" fmla="*/ 149733 w 509277"/>
              <a:gd name="connsiteY40" fmla="*/ 548164 h 585787"/>
              <a:gd name="connsiteX41" fmla="*/ 153543 w 509277"/>
              <a:gd name="connsiteY41" fmla="*/ 547783 h 585787"/>
              <a:gd name="connsiteX42" fmla="*/ 153734 w 509277"/>
              <a:gd name="connsiteY42" fmla="*/ 547783 h 585787"/>
              <a:gd name="connsiteX43" fmla="*/ 153734 w 509277"/>
              <a:gd name="connsiteY43" fmla="*/ 547783 h 585787"/>
              <a:gd name="connsiteX44" fmla="*/ 157639 w 509277"/>
              <a:gd name="connsiteY44" fmla="*/ 547211 h 585787"/>
              <a:gd name="connsiteX45" fmla="*/ 216408 w 509277"/>
              <a:gd name="connsiteY45" fmla="*/ 585788 h 585787"/>
              <a:gd name="connsiteX46" fmla="*/ 280702 w 509277"/>
              <a:gd name="connsiteY46" fmla="*/ 521494 h 585787"/>
              <a:gd name="connsiteX47" fmla="*/ 280702 w 509277"/>
              <a:gd name="connsiteY47" fmla="*/ 452437 h 585787"/>
              <a:gd name="connsiteX48" fmla="*/ 389668 w 509277"/>
              <a:gd name="connsiteY48" fmla="*/ 452437 h 585787"/>
              <a:gd name="connsiteX49" fmla="*/ 363760 w 509277"/>
              <a:gd name="connsiteY49" fmla="*/ 478346 h 585787"/>
              <a:gd name="connsiteX50" fmla="*/ 373856 w 509277"/>
              <a:gd name="connsiteY50" fmla="*/ 488442 h 585787"/>
              <a:gd name="connsiteX51" fmla="*/ 411956 w 509277"/>
              <a:gd name="connsiteY51" fmla="*/ 450342 h 585787"/>
              <a:gd name="connsiteX52" fmla="*/ 411956 w 509277"/>
              <a:gd name="connsiteY52" fmla="*/ 440246 h 585787"/>
              <a:gd name="connsiteX53" fmla="*/ 373856 w 509277"/>
              <a:gd name="connsiteY53" fmla="*/ 402146 h 585787"/>
              <a:gd name="connsiteX54" fmla="*/ 363760 w 509277"/>
              <a:gd name="connsiteY54" fmla="*/ 412242 h 585787"/>
              <a:gd name="connsiteX55" fmla="*/ 389668 w 509277"/>
              <a:gd name="connsiteY55" fmla="*/ 438150 h 585787"/>
              <a:gd name="connsiteX56" fmla="*/ 280702 w 509277"/>
              <a:gd name="connsiteY56" fmla="*/ 438150 h 585787"/>
              <a:gd name="connsiteX57" fmla="*/ 280702 w 509277"/>
              <a:gd name="connsiteY57" fmla="*/ 300037 h 585787"/>
              <a:gd name="connsiteX58" fmla="*/ 484918 w 509277"/>
              <a:gd name="connsiteY58" fmla="*/ 300037 h 585787"/>
              <a:gd name="connsiteX59" fmla="*/ 459010 w 509277"/>
              <a:gd name="connsiteY59" fmla="*/ 325946 h 585787"/>
              <a:gd name="connsiteX60" fmla="*/ 469106 w 509277"/>
              <a:gd name="connsiteY60" fmla="*/ 336042 h 585787"/>
              <a:gd name="connsiteX61" fmla="*/ 507206 w 509277"/>
              <a:gd name="connsiteY61" fmla="*/ 297942 h 585787"/>
              <a:gd name="connsiteX62" fmla="*/ 507206 w 509277"/>
              <a:gd name="connsiteY62" fmla="*/ 287846 h 585787"/>
              <a:gd name="connsiteX63" fmla="*/ 469106 w 509277"/>
              <a:gd name="connsiteY63" fmla="*/ 249746 h 585787"/>
              <a:gd name="connsiteX64" fmla="*/ 459010 w 509277"/>
              <a:gd name="connsiteY64" fmla="*/ 259842 h 585787"/>
              <a:gd name="connsiteX65" fmla="*/ 484918 w 509277"/>
              <a:gd name="connsiteY65" fmla="*/ 285750 h 585787"/>
              <a:gd name="connsiteX66" fmla="*/ 280702 w 509277"/>
              <a:gd name="connsiteY66" fmla="*/ 285750 h 585787"/>
              <a:gd name="connsiteX67" fmla="*/ 280702 w 509277"/>
              <a:gd name="connsiteY67" fmla="*/ 147638 h 585787"/>
              <a:gd name="connsiteX68" fmla="*/ 389668 w 509277"/>
              <a:gd name="connsiteY68" fmla="*/ 147638 h 585787"/>
              <a:gd name="connsiteX69" fmla="*/ 363760 w 509277"/>
              <a:gd name="connsiteY69" fmla="*/ 173546 h 585787"/>
              <a:gd name="connsiteX70" fmla="*/ 373856 w 509277"/>
              <a:gd name="connsiteY70" fmla="*/ 183642 h 585787"/>
              <a:gd name="connsiteX71" fmla="*/ 411956 w 509277"/>
              <a:gd name="connsiteY71" fmla="*/ 145542 h 585787"/>
              <a:gd name="connsiteX72" fmla="*/ 411956 w 509277"/>
              <a:gd name="connsiteY72" fmla="*/ 135446 h 585787"/>
              <a:gd name="connsiteX73" fmla="*/ 373856 w 509277"/>
              <a:gd name="connsiteY73" fmla="*/ 97345 h 585787"/>
              <a:gd name="connsiteX74" fmla="*/ 363760 w 509277"/>
              <a:gd name="connsiteY74" fmla="*/ 107442 h 585787"/>
              <a:gd name="connsiteX75" fmla="*/ 389668 w 509277"/>
              <a:gd name="connsiteY75" fmla="*/ 133350 h 585787"/>
              <a:gd name="connsiteX76" fmla="*/ 280702 w 509277"/>
              <a:gd name="connsiteY76" fmla="*/ 133350 h 585787"/>
              <a:gd name="connsiteX77" fmla="*/ 280702 w 509277"/>
              <a:gd name="connsiteY77" fmla="*/ 64294 h 585787"/>
              <a:gd name="connsiteX78" fmla="*/ 216408 w 509277"/>
              <a:gd name="connsiteY78" fmla="*/ 0 h 585787"/>
              <a:gd name="connsiteX79" fmla="*/ 155448 w 509277"/>
              <a:gd name="connsiteY79" fmla="*/ 43815 h 585787"/>
              <a:gd name="connsiteX80" fmla="*/ 152972 w 509277"/>
              <a:gd name="connsiteY80" fmla="*/ 43625 h 585787"/>
              <a:gd name="connsiteX81" fmla="*/ 152972 w 509277"/>
              <a:gd name="connsiteY81" fmla="*/ 43625 h 585787"/>
              <a:gd name="connsiteX82" fmla="*/ 146209 w 509277"/>
              <a:gd name="connsiteY82" fmla="*/ 43244 h 585787"/>
              <a:gd name="connsiteX83" fmla="*/ 72390 w 509277"/>
              <a:gd name="connsiteY83" fmla="*/ 117062 h 585787"/>
              <a:gd name="connsiteX84" fmla="*/ 78105 w 509277"/>
              <a:gd name="connsiteY84" fmla="*/ 145447 h 585787"/>
              <a:gd name="connsiteX85" fmla="*/ 77819 w 509277"/>
              <a:gd name="connsiteY85" fmla="*/ 145542 h 585787"/>
              <a:gd name="connsiteX86" fmla="*/ 66580 w 509277"/>
              <a:gd name="connsiteY86" fmla="*/ 150686 h 585787"/>
              <a:gd name="connsiteX87" fmla="*/ 66389 w 509277"/>
              <a:gd name="connsiteY87" fmla="*/ 150781 h 585787"/>
              <a:gd name="connsiteX88" fmla="*/ 57150 w 509277"/>
              <a:gd name="connsiteY88" fmla="*/ 156877 h 585787"/>
              <a:gd name="connsiteX89" fmla="*/ 55340 w 509277"/>
              <a:gd name="connsiteY89" fmla="*/ 158210 h 585787"/>
              <a:gd name="connsiteX90" fmla="*/ 47434 w 509277"/>
              <a:gd name="connsiteY90" fmla="*/ 165354 h 585787"/>
              <a:gd name="connsiteX91" fmla="*/ 45625 w 509277"/>
              <a:gd name="connsiteY91" fmla="*/ 167354 h 585787"/>
              <a:gd name="connsiteX92" fmla="*/ 39910 w 509277"/>
              <a:gd name="connsiteY92" fmla="*/ 174308 h 585787"/>
              <a:gd name="connsiteX93" fmla="*/ 38481 w 509277"/>
              <a:gd name="connsiteY93" fmla="*/ 176213 h 585787"/>
              <a:gd name="connsiteX94" fmla="*/ 33052 w 509277"/>
              <a:gd name="connsiteY94" fmla="*/ 185261 h 585787"/>
              <a:gd name="connsiteX95" fmla="*/ 31814 w 509277"/>
              <a:gd name="connsiteY95" fmla="*/ 187738 h 585787"/>
              <a:gd name="connsiteX96" fmla="*/ 28004 w 509277"/>
              <a:gd name="connsiteY96" fmla="*/ 197072 h 585787"/>
              <a:gd name="connsiteX97" fmla="*/ 27622 w 509277"/>
              <a:gd name="connsiteY97" fmla="*/ 198120 h 585787"/>
              <a:gd name="connsiteX98" fmla="*/ 25051 w 509277"/>
              <a:gd name="connsiteY98" fmla="*/ 208979 h 585787"/>
              <a:gd name="connsiteX99" fmla="*/ 24670 w 509277"/>
              <a:gd name="connsiteY99" fmla="*/ 211646 h 585787"/>
              <a:gd name="connsiteX100" fmla="*/ 23813 w 509277"/>
              <a:gd name="connsiteY100" fmla="*/ 223171 h 585787"/>
              <a:gd name="connsiteX101" fmla="*/ 24479 w 509277"/>
              <a:gd name="connsiteY101" fmla="*/ 233458 h 585787"/>
              <a:gd name="connsiteX102" fmla="*/ 24765 w 509277"/>
              <a:gd name="connsiteY102" fmla="*/ 235363 h 585787"/>
              <a:gd name="connsiteX103" fmla="*/ 26765 w 509277"/>
              <a:gd name="connsiteY103" fmla="*/ 245078 h 585787"/>
              <a:gd name="connsiteX104" fmla="*/ 27242 w 509277"/>
              <a:gd name="connsiteY104" fmla="*/ 246698 h 585787"/>
              <a:gd name="connsiteX105" fmla="*/ 30385 w 509277"/>
              <a:gd name="connsiteY105" fmla="*/ 255556 h 585787"/>
              <a:gd name="connsiteX106" fmla="*/ 30766 w 509277"/>
              <a:gd name="connsiteY106" fmla="*/ 256604 h 585787"/>
              <a:gd name="connsiteX107" fmla="*/ 35243 w 509277"/>
              <a:gd name="connsiteY107" fmla="*/ 265176 h 585787"/>
              <a:gd name="connsiteX108" fmla="*/ 35909 w 509277"/>
              <a:gd name="connsiteY108" fmla="*/ 266510 h 585787"/>
              <a:gd name="connsiteX109" fmla="*/ 35909 w 509277"/>
              <a:gd name="connsiteY109" fmla="*/ 266510 h 585787"/>
              <a:gd name="connsiteX110" fmla="*/ 41624 w 509277"/>
              <a:gd name="connsiteY110" fmla="*/ 274701 h 585787"/>
              <a:gd name="connsiteX111" fmla="*/ 31623 w 509277"/>
              <a:gd name="connsiteY111" fmla="*/ 282988 h 585787"/>
              <a:gd name="connsiteX112" fmla="*/ 31623 w 509277"/>
              <a:gd name="connsiteY112" fmla="*/ 282988 h 585787"/>
              <a:gd name="connsiteX113" fmla="*/ 38005 w 509277"/>
              <a:gd name="connsiteY113" fmla="*/ 297085 h 585787"/>
              <a:gd name="connsiteX114" fmla="*/ 39719 w 509277"/>
              <a:gd name="connsiteY114" fmla="*/ 295275 h 585787"/>
              <a:gd name="connsiteX115" fmla="*/ 56674 w 509277"/>
              <a:gd name="connsiteY115" fmla="*/ 282035 h 585787"/>
              <a:gd name="connsiteX116" fmla="*/ 60103 w 509277"/>
              <a:gd name="connsiteY116" fmla="*/ 276797 h 585787"/>
              <a:gd name="connsiteX117" fmla="*/ 58103 w 509277"/>
              <a:gd name="connsiteY117" fmla="*/ 270891 h 585787"/>
              <a:gd name="connsiteX118" fmla="*/ 47816 w 509277"/>
              <a:gd name="connsiteY118" fmla="*/ 257270 h 585787"/>
              <a:gd name="connsiteX119" fmla="*/ 45053 w 509277"/>
              <a:gd name="connsiteY119" fmla="*/ 251841 h 585787"/>
              <a:gd name="connsiteX120" fmla="*/ 44101 w 509277"/>
              <a:gd name="connsiteY120" fmla="*/ 249746 h 585787"/>
              <a:gd name="connsiteX121" fmla="*/ 41339 w 509277"/>
              <a:gd name="connsiteY121" fmla="*/ 242030 h 585787"/>
              <a:gd name="connsiteX122" fmla="*/ 40958 w 509277"/>
              <a:gd name="connsiteY122" fmla="*/ 240506 h 585787"/>
              <a:gd name="connsiteX123" fmla="*/ 39529 w 509277"/>
              <a:gd name="connsiteY123" fmla="*/ 233648 h 585787"/>
              <a:gd name="connsiteX124" fmla="*/ 39243 w 509277"/>
              <a:gd name="connsiteY124" fmla="*/ 231458 h 585787"/>
              <a:gd name="connsiteX125" fmla="*/ 38671 w 509277"/>
              <a:gd name="connsiteY125" fmla="*/ 223076 h 585787"/>
              <a:gd name="connsiteX126" fmla="*/ 39529 w 509277"/>
              <a:gd name="connsiteY126" fmla="*/ 212598 h 585787"/>
              <a:gd name="connsiteX127" fmla="*/ 39815 w 509277"/>
              <a:gd name="connsiteY127" fmla="*/ 210788 h 585787"/>
              <a:gd name="connsiteX128" fmla="*/ 42291 w 509277"/>
              <a:gd name="connsiteY128" fmla="*/ 201263 h 585787"/>
              <a:gd name="connsiteX129" fmla="*/ 42958 w 509277"/>
              <a:gd name="connsiteY129" fmla="*/ 199454 h 585787"/>
              <a:gd name="connsiteX130" fmla="*/ 46958 w 509277"/>
              <a:gd name="connsiteY130" fmla="*/ 190310 h 585787"/>
              <a:gd name="connsiteX131" fmla="*/ 47149 w 509277"/>
              <a:gd name="connsiteY131" fmla="*/ 189929 h 585787"/>
              <a:gd name="connsiteX132" fmla="*/ 52388 w 509277"/>
              <a:gd name="connsiteY132" fmla="*/ 181928 h 585787"/>
              <a:gd name="connsiteX133" fmla="*/ 53626 w 509277"/>
              <a:gd name="connsiteY133" fmla="*/ 180308 h 585787"/>
              <a:gd name="connsiteX134" fmla="*/ 60103 w 509277"/>
              <a:gd name="connsiteY134" fmla="*/ 173260 h 585787"/>
              <a:gd name="connsiteX135" fmla="*/ 61532 w 509277"/>
              <a:gd name="connsiteY135" fmla="*/ 172022 h 585787"/>
              <a:gd name="connsiteX136" fmla="*/ 69533 w 509277"/>
              <a:gd name="connsiteY136" fmla="*/ 165735 h 585787"/>
              <a:gd name="connsiteX137" fmla="*/ 69533 w 509277"/>
              <a:gd name="connsiteY137" fmla="*/ 165735 h 585787"/>
              <a:gd name="connsiteX138" fmla="*/ 90392 w 509277"/>
              <a:gd name="connsiteY138" fmla="*/ 156496 h 585787"/>
              <a:gd name="connsiteX139" fmla="*/ 90392 w 509277"/>
              <a:gd name="connsiteY139" fmla="*/ 156496 h 585787"/>
              <a:gd name="connsiteX140" fmla="*/ 107252 w 509277"/>
              <a:gd name="connsiteY140" fmla="*/ 154305 h 585787"/>
              <a:gd name="connsiteX141" fmla="*/ 161163 w 509277"/>
              <a:gd name="connsiteY141" fmla="*/ 180499 h 585787"/>
              <a:gd name="connsiteX142" fmla="*/ 172403 w 509277"/>
              <a:gd name="connsiteY142" fmla="*/ 171641 h 585787"/>
              <a:gd name="connsiteX143" fmla="*/ 107252 w 509277"/>
              <a:gd name="connsiteY143" fmla="*/ 140017 h 585787"/>
              <a:gd name="connsiteX144" fmla="*/ 92583 w 509277"/>
              <a:gd name="connsiteY144" fmla="*/ 141446 h 585787"/>
              <a:gd name="connsiteX145" fmla="*/ 87154 w 509277"/>
              <a:gd name="connsiteY145" fmla="*/ 116872 h 585787"/>
              <a:gd name="connsiteX146" fmla="*/ 146685 w 509277"/>
              <a:gd name="connsiteY146" fmla="*/ 57340 h 585787"/>
              <a:gd name="connsiteX147" fmla="*/ 159449 w 509277"/>
              <a:gd name="connsiteY147" fmla="*/ 58674 h 585787"/>
              <a:gd name="connsiteX148" fmla="*/ 167926 w 509277"/>
              <a:gd name="connsiteY148" fmla="*/ 53245 h 585787"/>
              <a:gd name="connsiteX149" fmla="*/ 216789 w 509277"/>
              <a:gd name="connsiteY149" fmla="*/ 14002 h 585787"/>
              <a:gd name="connsiteX150" fmla="*/ 266795 w 509277"/>
              <a:gd name="connsiteY150" fmla="*/ 64008 h 585787"/>
              <a:gd name="connsiteX151" fmla="*/ 266795 w 509277"/>
              <a:gd name="connsiteY151" fmla="*/ 285464 h 585787"/>
              <a:gd name="connsiteX152" fmla="*/ 200787 w 509277"/>
              <a:gd name="connsiteY152" fmla="*/ 285464 h 585787"/>
              <a:gd name="connsiteX153" fmla="*/ 130112 w 509277"/>
              <a:gd name="connsiteY153" fmla="*/ 238887 h 585787"/>
              <a:gd name="connsiteX154" fmla="*/ 116967 w 509277"/>
              <a:gd name="connsiteY154" fmla="*/ 244507 h 585787"/>
              <a:gd name="connsiteX155" fmla="*/ 200787 w 509277"/>
              <a:gd name="connsiteY155" fmla="*/ 299657 h 585787"/>
              <a:gd name="connsiteX156" fmla="*/ 266795 w 509277"/>
              <a:gd name="connsiteY156" fmla="*/ 299657 h 585787"/>
              <a:gd name="connsiteX157" fmla="*/ 266795 w 509277"/>
              <a:gd name="connsiteY157" fmla="*/ 521113 h 585787"/>
              <a:gd name="connsiteX158" fmla="*/ 216789 w 509277"/>
              <a:gd name="connsiteY158" fmla="*/ 571119 h 585787"/>
              <a:gd name="connsiteX159" fmla="*/ 171926 w 509277"/>
              <a:gd name="connsiteY159" fmla="*/ 543116 h 585787"/>
              <a:gd name="connsiteX160" fmla="*/ 226505 w 509277"/>
              <a:gd name="connsiteY160" fmla="*/ 465296 h 585787"/>
              <a:gd name="connsiteX161" fmla="*/ 212217 w 509277"/>
              <a:gd name="connsiteY161" fmla="*/ 465296 h 585787"/>
              <a:gd name="connsiteX162" fmla="*/ 152305 w 509277"/>
              <a:gd name="connsiteY162" fmla="*/ 533305 h 585787"/>
              <a:gd name="connsiteX163" fmla="*/ 152305 w 509277"/>
              <a:gd name="connsiteY163" fmla="*/ 533305 h 585787"/>
              <a:gd name="connsiteX164" fmla="*/ 143542 w 509277"/>
              <a:gd name="connsiteY164" fmla="*/ 533876 h 585787"/>
              <a:gd name="connsiteX165" fmla="*/ 74962 w 509277"/>
              <a:gd name="connsiteY165" fmla="*/ 465296 h 585787"/>
              <a:gd name="connsiteX166" fmla="*/ 76009 w 509277"/>
              <a:gd name="connsiteY166" fmla="*/ 453961 h 585787"/>
              <a:gd name="connsiteX167" fmla="*/ 101156 w 509277"/>
              <a:gd name="connsiteY167" fmla="*/ 457200 h 585787"/>
              <a:gd name="connsiteX168" fmla="*/ 140494 w 509277"/>
              <a:gd name="connsiteY168" fmla="*/ 449294 h 585787"/>
              <a:gd name="connsiteX169" fmla="*/ 134969 w 509277"/>
              <a:gd name="connsiteY169" fmla="*/ 436150 h 585787"/>
              <a:gd name="connsiteX170" fmla="*/ 101156 w 509277"/>
              <a:gd name="connsiteY170" fmla="*/ 443008 h 585787"/>
              <a:gd name="connsiteX171" fmla="*/ 72390 w 509277"/>
              <a:gd name="connsiteY171" fmla="*/ 438055 h 585787"/>
              <a:gd name="connsiteX172" fmla="*/ 56483 w 509277"/>
              <a:gd name="connsiteY172" fmla="*/ 430530 h 585787"/>
              <a:gd name="connsiteX173" fmla="*/ 53912 w 509277"/>
              <a:gd name="connsiteY173" fmla="*/ 428911 h 585787"/>
              <a:gd name="connsiteX174" fmla="*/ 50673 w 509277"/>
              <a:gd name="connsiteY174" fmla="*/ 426720 h 585787"/>
              <a:gd name="connsiteX175" fmla="*/ 47530 w 509277"/>
              <a:gd name="connsiteY175" fmla="*/ 424339 h 585787"/>
              <a:gd name="connsiteX176" fmla="*/ 44863 w 509277"/>
              <a:gd name="connsiteY176" fmla="*/ 422148 h 585787"/>
              <a:gd name="connsiteX177" fmla="*/ 41339 w 509277"/>
              <a:gd name="connsiteY177" fmla="*/ 418910 h 585787"/>
              <a:gd name="connsiteX178" fmla="*/ 39433 w 509277"/>
              <a:gd name="connsiteY178" fmla="*/ 417100 h 585787"/>
              <a:gd name="connsiteX179" fmla="*/ 34481 w 509277"/>
              <a:gd name="connsiteY179" fmla="*/ 411671 h 585787"/>
              <a:gd name="connsiteX180" fmla="*/ 33242 w 509277"/>
              <a:gd name="connsiteY180" fmla="*/ 410051 h 585787"/>
              <a:gd name="connsiteX181" fmla="*/ 29908 w 509277"/>
              <a:gd name="connsiteY181" fmla="*/ 405575 h 585787"/>
              <a:gd name="connsiteX182" fmla="*/ 28289 w 509277"/>
              <a:gd name="connsiteY182" fmla="*/ 403098 h 585787"/>
              <a:gd name="connsiteX183" fmla="*/ 25813 w 509277"/>
              <a:gd name="connsiteY183" fmla="*/ 399098 h 585787"/>
              <a:gd name="connsiteX184" fmla="*/ 24289 w 509277"/>
              <a:gd name="connsiteY184" fmla="*/ 396335 h 585787"/>
              <a:gd name="connsiteX185" fmla="*/ 22098 w 509277"/>
              <a:gd name="connsiteY185" fmla="*/ 391859 h 585787"/>
              <a:gd name="connsiteX186" fmla="*/ 20955 w 509277"/>
              <a:gd name="connsiteY186" fmla="*/ 389382 h 585787"/>
              <a:gd name="connsiteX187" fmla="*/ 18479 w 509277"/>
              <a:gd name="connsiteY187" fmla="*/ 382524 h 585787"/>
              <a:gd name="connsiteX188" fmla="*/ 17717 w 509277"/>
              <a:gd name="connsiteY188" fmla="*/ 379857 h 585787"/>
              <a:gd name="connsiteX189" fmla="*/ 16478 w 509277"/>
              <a:gd name="connsiteY189" fmla="*/ 374904 h 585787"/>
              <a:gd name="connsiteX190" fmla="*/ 15907 w 509277"/>
              <a:gd name="connsiteY190" fmla="*/ 371951 h 585787"/>
              <a:gd name="connsiteX191" fmla="*/ 15145 w 509277"/>
              <a:gd name="connsiteY191" fmla="*/ 366712 h 585787"/>
              <a:gd name="connsiteX192" fmla="*/ 14859 w 509277"/>
              <a:gd name="connsiteY192" fmla="*/ 364046 h 585787"/>
              <a:gd name="connsiteX193" fmla="*/ 14478 w 509277"/>
              <a:gd name="connsiteY193" fmla="*/ 356045 h 585787"/>
              <a:gd name="connsiteX194" fmla="*/ 15145 w 509277"/>
              <a:gd name="connsiteY194" fmla="*/ 345662 h 585787"/>
              <a:gd name="connsiteX195" fmla="*/ 15621 w 509277"/>
              <a:gd name="connsiteY195" fmla="*/ 342805 h 585787"/>
              <a:gd name="connsiteX196" fmla="*/ 17050 w 509277"/>
              <a:gd name="connsiteY196" fmla="*/ 335375 h 585787"/>
              <a:gd name="connsiteX197" fmla="*/ 17812 w 509277"/>
              <a:gd name="connsiteY197" fmla="*/ 332423 h 585787"/>
              <a:gd name="connsiteX198" fmla="*/ 20384 w 509277"/>
              <a:gd name="connsiteY198" fmla="*/ 324707 h 585787"/>
              <a:gd name="connsiteX199" fmla="*/ 21146 w 509277"/>
              <a:gd name="connsiteY199" fmla="*/ 322707 h 585787"/>
              <a:gd name="connsiteX200" fmla="*/ 31242 w 509277"/>
              <a:gd name="connsiteY200" fmla="*/ 304800 h 585787"/>
              <a:gd name="connsiteX201" fmla="*/ 32861 w 509277"/>
              <a:gd name="connsiteY201" fmla="*/ 302800 h 585787"/>
              <a:gd name="connsiteX202" fmla="*/ 38100 w 509277"/>
              <a:gd name="connsiteY202" fmla="*/ 296704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509277" h="585787">
                <a:moveTo>
                  <a:pt x="32099" y="282607"/>
                </a:moveTo>
                <a:cubicBezTo>
                  <a:pt x="29528" y="285083"/>
                  <a:pt x="27051" y="287655"/>
                  <a:pt x="24670" y="290322"/>
                </a:cubicBezTo>
                <a:cubicBezTo>
                  <a:pt x="23622" y="291560"/>
                  <a:pt x="22670" y="292894"/>
                  <a:pt x="21717" y="294132"/>
                </a:cubicBezTo>
                <a:cubicBezTo>
                  <a:pt x="20574" y="295656"/>
                  <a:pt x="19336" y="297085"/>
                  <a:pt x="18193" y="298704"/>
                </a:cubicBezTo>
                <a:cubicBezTo>
                  <a:pt x="16764" y="300800"/>
                  <a:pt x="15430" y="302895"/>
                  <a:pt x="14192" y="305086"/>
                </a:cubicBezTo>
                <a:cubicBezTo>
                  <a:pt x="13716" y="305943"/>
                  <a:pt x="13145" y="306800"/>
                  <a:pt x="12668" y="307658"/>
                </a:cubicBezTo>
                <a:cubicBezTo>
                  <a:pt x="11430" y="309944"/>
                  <a:pt x="10287" y="312325"/>
                  <a:pt x="9144" y="314706"/>
                </a:cubicBezTo>
                <a:cubicBezTo>
                  <a:pt x="8763" y="315563"/>
                  <a:pt x="8382" y="316421"/>
                  <a:pt x="8001" y="317278"/>
                </a:cubicBezTo>
                <a:cubicBezTo>
                  <a:pt x="7048" y="319659"/>
                  <a:pt x="6096" y="322040"/>
                  <a:pt x="5334" y="324517"/>
                </a:cubicBezTo>
                <a:cubicBezTo>
                  <a:pt x="4953" y="325660"/>
                  <a:pt x="4667" y="326708"/>
                  <a:pt x="4286" y="327851"/>
                </a:cubicBezTo>
                <a:cubicBezTo>
                  <a:pt x="3620" y="330136"/>
                  <a:pt x="2953" y="332327"/>
                  <a:pt x="2477" y="334613"/>
                </a:cubicBezTo>
                <a:cubicBezTo>
                  <a:pt x="2096" y="336328"/>
                  <a:pt x="1810" y="338042"/>
                  <a:pt x="1524" y="339757"/>
                </a:cubicBezTo>
                <a:cubicBezTo>
                  <a:pt x="1238" y="341567"/>
                  <a:pt x="857" y="343376"/>
                  <a:pt x="667" y="345186"/>
                </a:cubicBezTo>
                <a:cubicBezTo>
                  <a:pt x="286" y="348901"/>
                  <a:pt x="0" y="352616"/>
                  <a:pt x="0" y="356330"/>
                </a:cubicBezTo>
                <a:cubicBezTo>
                  <a:pt x="0" y="359474"/>
                  <a:pt x="191" y="362522"/>
                  <a:pt x="476" y="365570"/>
                </a:cubicBezTo>
                <a:cubicBezTo>
                  <a:pt x="476" y="366522"/>
                  <a:pt x="667" y="367475"/>
                  <a:pt x="762" y="368427"/>
                </a:cubicBezTo>
                <a:cubicBezTo>
                  <a:pt x="1048" y="370523"/>
                  <a:pt x="1334" y="372713"/>
                  <a:pt x="1715" y="374809"/>
                </a:cubicBezTo>
                <a:cubicBezTo>
                  <a:pt x="1905" y="375761"/>
                  <a:pt x="2096" y="376809"/>
                  <a:pt x="2286" y="377761"/>
                </a:cubicBezTo>
                <a:cubicBezTo>
                  <a:pt x="2858" y="380524"/>
                  <a:pt x="3620" y="383381"/>
                  <a:pt x="4382" y="386048"/>
                </a:cubicBezTo>
                <a:cubicBezTo>
                  <a:pt x="4572" y="386715"/>
                  <a:pt x="4858" y="387382"/>
                  <a:pt x="5048" y="388049"/>
                </a:cubicBezTo>
                <a:cubicBezTo>
                  <a:pt x="5715" y="390144"/>
                  <a:pt x="6477" y="392240"/>
                  <a:pt x="7334" y="394335"/>
                </a:cubicBezTo>
                <a:cubicBezTo>
                  <a:pt x="7715" y="395383"/>
                  <a:pt x="8192" y="396335"/>
                  <a:pt x="8668" y="397383"/>
                </a:cubicBezTo>
                <a:cubicBezTo>
                  <a:pt x="9430" y="399193"/>
                  <a:pt x="10287" y="400907"/>
                  <a:pt x="11240" y="402622"/>
                </a:cubicBezTo>
                <a:cubicBezTo>
                  <a:pt x="11716" y="403479"/>
                  <a:pt x="12097" y="404432"/>
                  <a:pt x="12668" y="405289"/>
                </a:cubicBezTo>
                <a:cubicBezTo>
                  <a:pt x="14097" y="407765"/>
                  <a:pt x="15526" y="410242"/>
                  <a:pt x="17145" y="412623"/>
                </a:cubicBezTo>
                <a:cubicBezTo>
                  <a:pt x="17431" y="413004"/>
                  <a:pt x="17717" y="413385"/>
                  <a:pt x="18002" y="413766"/>
                </a:cubicBezTo>
                <a:cubicBezTo>
                  <a:pt x="19431" y="415766"/>
                  <a:pt x="20860" y="417767"/>
                  <a:pt x="22384" y="419672"/>
                </a:cubicBezTo>
                <a:cubicBezTo>
                  <a:pt x="22955" y="420338"/>
                  <a:pt x="23527" y="421100"/>
                  <a:pt x="24194" y="421767"/>
                </a:cubicBezTo>
                <a:cubicBezTo>
                  <a:pt x="25527" y="423386"/>
                  <a:pt x="26956" y="424910"/>
                  <a:pt x="28480" y="426530"/>
                </a:cubicBezTo>
                <a:cubicBezTo>
                  <a:pt x="29051" y="427196"/>
                  <a:pt x="29718" y="427768"/>
                  <a:pt x="30290" y="428435"/>
                </a:cubicBezTo>
                <a:cubicBezTo>
                  <a:pt x="32290" y="430435"/>
                  <a:pt x="34481" y="432340"/>
                  <a:pt x="36671" y="434245"/>
                </a:cubicBezTo>
                <a:cubicBezTo>
                  <a:pt x="37052" y="434626"/>
                  <a:pt x="37529" y="434911"/>
                  <a:pt x="37909" y="435197"/>
                </a:cubicBezTo>
                <a:cubicBezTo>
                  <a:pt x="39719" y="436626"/>
                  <a:pt x="41529" y="438055"/>
                  <a:pt x="43434" y="439388"/>
                </a:cubicBezTo>
                <a:cubicBezTo>
                  <a:pt x="44482" y="440150"/>
                  <a:pt x="45625" y="440817"/>
                  <a:pt x="46672" y="441579"/>
                </a:cubicBezTo>
                <a:cubicBezTo>
                  <a:pt x="47911" y="442341"/>
                  <a:pt x="49244" y="443198"/>
                  <a:pt x="50483" y="443865"/>
                </a:cubicBezTo>
                <a:cubicBezTo>
                  <a:pt x="51816" y="444627"/>
                  <a:pt x="53150" y="445389"/>
                  <a:pt x="54578" y="446151"/>
                </a:cubicBezTo>
                <a:cubicBezTo>
                  <a:pt x="55531" y="446627"/>
                  <a:pt x="56483" y="447104"/>
                  <a:pt x="57436" y="447580"/>
                </a:cubicBezTo>
                <a:cubicBezTo>
                  <a:pt x="58960" y="448342"/>
                  <a:pt x="60484" y="449104"/>
                  <a:pt x="62008" y="449771"/>
                </a:cubicBezTo>
                <a:cubicBezTo>
                  <a:pt x="60960" y="455009"/>
                  <a:pt x="60389" y="460343"/>
                  <a:pt x="60389" y="465582"/>
                </a:cubicBezTo>
                <a:cubicBezTo>
                  <a:pt x="60389" y="511302"/>
                  <a:pt x="97536" y="548449"/>
                  <a:pt x="143256" y="548449"/>
                </a:cubicBezTo>
                <a:cubicBezTo>
                  <a:pt x="145352" y="548449"/>
                  <a:pt x="147542" y="548354"/>
                  <a:pt x="149733" y="548164"/>
                </a:cubicBezTo>
                <a:cubicBezTo>
                  <a:pt x="150971" y="548069"/>
                  <a:pt x="152305" y="547973"/>
                  <a:pt x="153543" y="547783"/>
                </a:cubicBezTo>
                <a:cubicBezTo>
                  <a:pt x="153543" y="547783"/>
                  <a:pt x="153638" y="547783"/>
                  <a:pt x="153734" y="547783"/>
                </a:cubicBezTo>
                <a:lnTo>
                  <a:pt x="153734" y="547783"/>
                </a:lnTo>
                <a:cubicBezTo>
                  <a:pt x="155067" y="547592"/>
                  <a:pt x="156305" y="547402"/>
                  <a:pt x="157639" y="547211"/>
                </a:cubicBezTo>
                <a:cubicBezTo>
                  <a:pt x="167831" y="570452"/>
                  <a:pt x="190595" y="585788"/>
                  <a:pt x="216408" y="585788"/>
                </a:cubicBezTo>
                <a:cubicBezTo>
                  <a:pt x="251841" y="585788"/>
                  <a:pt x="280702" y="556927"/>
                  <a:pt x="280702" y="521494"/>
                </a:cubicBezTo>
                <a:lnTo>
                  <a:pt x="280702" y="452437"/>
                </a:lnTo>
                <a:lnTo>
                  <a:pt x="389668" y="452437"/>
                </a:lnTo>
                <a:lnTo>
                  <a:pt x="363760" y="478346"/>
                </a:lnTo>
                <a:lnTo>
                  <a:pt x="373856" y="488442"/>
                </a:lnTo>
                <a:lnTo>
                  <a:pt x="411956" y="450342"/>
                </a:lnTo>
                <a:cubicBezTo>
                  <a:pt x="414719" y="447580"/>
                  <a:pt x="414719" y="443008"/>
                  <a:pt x="411956" y="440246"/>
                </a:cubicBezTo>
                <a:lnTo>
                  <a:pt x="373856" y="402146"/>
                </a:lnTo>
                <a:lnTo>
                  <a:pt x="363760" y="412242"/>
                </a:lnTo>
                <a:lnTo>
                  <a:pt x="389668" y="438150"/>
                </a:lnTo>
                <a:lnTo>
                  <a:pt x="280702" y="438150"/>
                </a:lnTo>
                <a:lnTo>
                  <a:pt x="280702" y="300037"/>
                </a:lnTo>
                <a:lnTo>
                  <a:pt x="484918" y="300037"/>
                </a:lnTo>
                <a:lnTo>
                  <a:pt x="459010" y="325946"/>
                </a:lnTo>
                <a:lnTo>
                  <a:pt x="469106" y="336042"/>
                </a:lnTo>
                <a:lnTo>
                  <a:pt x="507206" y="297942"/>
                </a:lnTo>
                <a:cubicBezTo>
                  <a:pt x="509969" y="295180"/>
                  <a:pt x="509969" y="290608"/>
                  <a:pt x="507206" y="287846"/>
                </a:cubicBezTo>
                <a:lnTo>
                  <a:pt x="469106" y="249746"/>
                </a:lnTo>
                <a:lnTo>
                  <a:pt x="459010" y="259842"/>
                </a:lnTo>
                <a:lnTo>
                  <a:pt x="484918" y="285750"/>
                </a:lnTo>
                <a:lnTo>
                  <a:pt x="280702" y="285750"/>
                </a:lnTo>
                <a:lnTo>
                  <a:pt x="280702" y="147638"/>
                </a:lnTo>
                <a:lnTo>
                  <a:pt x="389668" y="147638"/>
                </a:lnTo>
                <a:lnTo>
                  <a:pt x="363760" y="173546"/>
                </a:lnTo>
                <a:lnTo>
                  <a:pt x="373856" y="183642"/>
                </a:lnTo>
                <a:lnTo>
                  <a:pt x="411956" y="145542"/>
                </a:lnTo>
                <a:cubicBezTo>
                  <a:pt x="414719" y="142780"/>
                  <a:pt x="414719" y="138208"/>
                  <a:pt x="411956" y="135446"/>
                </a:cubicBezTo>
                <a:lnTo>
                  <a:pt x="373856" y="97345"/>
                </a:lnTo>
                <a:lnTo>
                  <a:pt x="363760" y="107442"/>
                </a:lnTo>
                <a:lnTo>
                  <a:pt x="389668" y="133350"/>
                </a:lnTo>
                <a:lnTo>
                  <a:pt x="280702" y="133350"/>
                </a:lnTo>
                <a:lnTo>
                  <a:pt x="280702" y="64294"/>
                </a:lnTo>
                <a:cubicBezTo>
                  <a:pt x="280702" y="28861"/>
                  <a:pt x="251841" y="0"/>
                  <a:pt x="216408" y="0"/>
                </a:cubicBezTo>
                <a:cubicBezTo>
                  <a:pt x="188786" y="0"/>
                  <a:pt x="164116" y="18097"/>
                  <a:pt x="155448" y="43815"/>
                </a:cubicBezTo>
                <a:cubicBezTo>
                  <a:pt x="154686" y="43720"/>
                  <a:pt x="153829" y="43815"/>
                  <a:pt x="152972" y="43625"/>
                </a:cubicBezTo>
                <a:lnTo>
                  <a:pt x="152972" y="43625"/>
                </a:lnTo>
                <a:cubicBezTo>
                  <a:pt x="150781" y="43339"/>
                  <a:pt x="148495" y="43244"/>
                  <a:pt x="146209" y="43244"/>
                </a:cubicBezTo>
                <a:cubicBezTo>
                  <a:pt x="105537" y="43244"/>
                  <a:pt x="72390" y="76391"/>
                  <a:pt x="72390" y="117062"/>
                </a:cubicBezTo>
                <a:cubicBezTo>
                  <a:pt x="72390" y="126778"/>
                  <a:pt x="74390" y="136493"/>
                  <a:pt x="78105" y="145447"/>
                </a:cubicBezTo>
                <a:cubicBezTo>
                  <a:pt x="78010" y="145447"/>
                  <a:pt x="77915" y="145542"/>
                  <a:pt x="77819" y="145542"/>
                </a:cubicBezTo>
                <a:cubicBezTo>
                  <a:pt x="73914" y="146971"/>
                  <a:pt x="70104" y="148685"/>
                  <a:pt x="66580" y="150686"/>
                </a:cubicBezTo>
                <a:cubicBezTo>
                  <a:pt x="66580" y="150686"/>
                  <a:pt x="66484" y="150686"/>
                  <a:pt x="66389" y="150781"/>
                </a:cubicBezTo>
                <a:cubicBezTo>
                  <a:pt x="63151" y="152591"/>
                  <a:pt x="60103" y="154686"/>
                  <a:pt x="57150" y="156877"/>
                </a:cubicBezTo>
                <a:cubicBezTo>
                  <a:pt x="56579" y="157353"/>
                  <a:pt x="56007" y="157734"/>
                  <a:pt x="55340" y="158210"/>
                </a:cubicBezTo>
                <a:cubicBezTo>
                  <a:pt x="52578" y="160401"/>
                  <a:pt x="49911" y="162782"/>
                  <a:pt x="47434" y="165354"/>
                </a:cubicBezTo>
                <a:cubicBezTo>
                  <a:pt x="46768" y="166021"/>
                  <a:pt x="46196" y="166688"/>
                  <a:pt x="45625" y="167354"/>
                </a:cubicBezTo>
                <a:cubicBezTo>
                  <a:pt x="43625" y="169545"/>
                  <a:pt x="41720" y="171831"/>
                  <a:pt x="39910" y="174308"/>
                </a:cubicBezTo>
                <a:cubicBezTo>
                  <a:pt x="39433" y="174974"/>
                  <a:pt x="38957" y="175546"/>
                  <a:pt x="38481" y="176213"/>
                </a:cubicBezTo>
                <a:cubicBezTo>
                  <a:pt x="36481" y="179070"/>
                  <a:pt x="34671" y="182118"/>
                  <a:pt x="33052" y="185261"/>
                </a:cubicBezTo>
                <a:cubicBezTo>
                  <a:pt x="32671" y="186118"/>
                  <a:pt x="32290" y="186880"/>
                  <a:pt x="31814" y="187738"/>
                </a:cubicBezTo>
                <a:cubicBezTo>
                  <a:pt x="30385" y="190786"/>
                  <a:pt x="29146" y="193834"/>
                  <a:pt x="28004" y="197072"/>
                </a:cubicBezTo>
                <a:cubicBezTo>
                  <a:pt x="27908" y="197453"/>
                  <a:pt x="27718" y="197739"/>
                  <a:pt x="27622" y="198120"/>
                </a:cubicBezTo>
                <a:cubicBezTo>
                  <a:pt x="26480" y="201644"/>
                  <a:pt x="25717" y="205264"/>
                  <a:pt x="25051" y="208979"/>
                </a:cubicBezTo>
                <a:cubicBezTo>
                  <a:pt x="24860" y="209836"/>
                  <a:pt x="24765" y="210693"/>
                  <a:pt x="24670" y="211646"/>
                </a:cubicBezTo>
                <a:cubicBezTo>
                  <a:pt x="24098" y="215455"/>
                  <a:pt x="23813" y="219265"/>
                  <a:pt x="23813" y="223171"/>
                </a:cubicBezTo>
                <a:cubicBezTo>
                  <a:pt x="23813" y="226600"/>
                  <a:pt x="24098" y="230029"/>
                  <a:pt x="24479" y="233458"/>
                </a:cubicBezTo>
                <a:cubicBezTo>
                  <a:pt x="24479" y="234125"/>
                  <a:pt x="24670" y="234696"/>
                  <a:pt x="24765" y="235363"/>
                </a:cubicBezTo>
                <a:cubicBezTo>
                  <a:pt x="25241" y="238697"/>
                  <a:pt x="25908" y="241935"/>
                  <a:pt x="26765" y="245078"/>
                </a:cubicBezTo>
                <a:cubicBezTo>
                  <a:pt x="26956" y="245650"/>
                  <a:pt x="27051" y="246126"/>
                  <a:pt x="27242" y="246698"/>
                </a:cubicBezTo>
                <a:cubicBezTo>
                  <a:pt x="28099" y="249746"/>
                  <a:pt x="29146" y="252698"/>
                  <a:pt x="30385" y="255556"/>
                </a:cubicBezTo>
                <a:cubicBezTo>
                  <a:pt x="30575" y="255937"/>
                  <a:pt x="30670" y="256223"/>
                  <a:pt x="30766" y="256604"/>
                </a:cubicBezTo>
                <a:cubicBezTo>
                  <a:pt x="32099" y="259556"/>
                  <a:pt x="33528" y="262319"/>
                  <a:pt x="35243" y="265176"/>
                </a:cubicBezTo>
                <a:cubicBezTo>
                  <a:pt x="35528" y="265557"/>
                  <a:pt x="35623" y="266033"/>
                  <a:pt x="35909" y="266510"/>
                </a:cubicBezTo>
                <a:lnTo>
                  <a:pt x="35909" y="266510"/>
                </a:lnTo>
                <a:cubicBezTo>
                  <a:pt x="37624" y="269272"/>
                  <a:pt x="39529" y="272034"/>
                  <a:pt x="41624" y="274701"/>
                </a:cubicBezTo>
                <a:cubicBezTo>
                  <a:pt x="38100" y="277273"/>
                  <a:pt x="34766" y="280035"/>
                  <a:pt x="31623" y="282988"/>
                </a:cubicBezTo>
                <a:lnTo>
                  <a:pt x="31623" y="282988"/>
                </a:lnTo>
                <a:close/>
                <a:moveTo>
                  <a:pt x="38005" y="297085"/>
                </a:moveTo>
                <a:cubicBezTo>
                  <a:pt x="38576" y="296513"/>
                  <a:pt x="39148" y="295942"/>
                  <a:pt x="39719" y="295275"/>
                </a:cubicBezTo>
                <a:cubicBezTo>
                  <a:pt x="44768" y="290322"/>
                  <a:pt x="50387" y="285750"/>
                  <a:pt x="56674" y="282035"/>
                </a:cubicBezTo>
                <a:cubicBezTo>
                  <a:pt x="58579" y="280892"/>
                  <a:pt x="59817" y="278987"/>
                  <a:pt x="60103" y="276797"/>
                </a:cubicBezTo>
                <a:cubicBezTo>
                  <a:pt x="60389" y="274606"/>
                  <a:pt x="59627" y="272415"/>
                  <a:pt x="58103" y="270891"/>
                </a:cubicBezTo>
                <a:cubicBezTo>
                  <a:pt x="54102" y="266700"/>
                  <a:pt x="50673" y="262128"/>
                  <a:pt x="47816" y="257270"/>
                </a:cubicBezTo>
                <a:cubicBezTo>
                  <a:pt x="46768" y="255461"/>
                  <a:pt x="45815" y="253746"/>
                  <a:pt x="45053" y="251841"/>
                </a:cubicBezTo>
                <a:cubicBezTo>
                  <a:pt x="44768" y="251174"/>
                  <a:pt x="44387" y="250508"/>
                  <a:pt x="44101" y="249746"/>
                </a:cubicBezTo>
                <a:cubicBezTo>
                  <a:pt x="43053" y="247269"/>
                  <a:pt x="42101" y="244697"/>
                  <a:pt x="41339" y="242030"/>
                </a:cubicBezTo>
                <a:cubicBezTo>
                  <a:pt x="41148" y="241554"/>
                  <a:pt x="41053" y="240983"/>
                  <a:pt x="40958" y="240506"/>
                </a:cubicBezTo>
                <a:cubicBezTo>
                  <a:pt x="40386" y="238220"/>
                  <a:pt x="39910" y="235934"/>
                  <a:pt x="39529" y="233648"/>
                </a:cubicBezTo>
                <a:cubicBezTo>
                  <a:pt x="39433" y="232886"/>
                  <a:pt x="39338" y="232219"/>
                  <a:pt x="39243" y="231458"/>
                </a:cubicBezTo>
                <a:cubicBezTo>
                  <a:pt x="38862" y="228695"/>
                  <a:pt x="38671" y="225838"/>
                  <a:pt x="38671" y="223076"/>
                </a:cubicBezTo>
                <a:cubicBezTo>
                  <a:pt x="38671" y="219551"/>
                  <a:pt x="39053" y="216027"/>
                  <a:pt x="39529" y="212598"/>
                </a:cubicBezTo>
                <a:cubicBezTo>
                  <a:pt x="39624" y="212027"/>
                  <a:pt x="39719" y="211360"/>
                  <a:pt x="39815" y="210788"/>
                </a:cubicBezTo>
                <a:cubicBezTo>
                  <a:pt x="40386" y="207550"/>
                  <a:pt x="41243" y="204311"/>
                  <a:pt x="42291" y="201263"/>
                </a:cubicBezTo>
                <a:cubicBezTo>
                  <a:pt x="42482" y="200692"/>
                  <a:pt x="42767" y="200120"/>
                  <a:pt x="42958" y="199454"/>
                </a:cubicBezTo>
                <a:cubicBezTo>
                  <a:pt x="44101" y="196310"/>
                  <a:pt x="45434" y="193262"/>
                  <a:pt x="46958" y="190310"/>
                </a:cubicBezTo>
                <a:cubicBezTo>
                  <a:pt x="46958" y="190214"/>
                  <a:pt x="47149" y="190024"/>
                  <a:pt x="47149" y="189929"/>
                </a:cubicBezTo>
                <a:cubicBezTo>
                  <a:pt x="48673" y="187166"/>
                  <a:pt x="50483" y="184499"/>
                  <a:pt x="52388" y="181928"/>
                </a:cubicBezTo>
                <a:cubicBezTo>
                  <a:pt x="52769" y="181356"/>
                  <a:pt x="53150" y="180880"/>
                  <a:pt x="53626" y="180308"/>
                </a:cubicBezTo>
                <a:cubicBezTo>
                  <a:pt x="55626" y="177832"/>
                  <a:pt x="57721" y="175451"/>
                  <a:pt x="60103" y="173260"/>
                </a:cubicBezTo>
                <a:cubicBezTo>
                  <a:pt x="60579" y="172784"/>
                  <a:pt x="61055" y="172403"/>
                  <a:pt x="61532" y="172022"/>
                </a:cubicBezTo>
                <a:cubicBezTo>
                  <a:pt x="64008" y="169736"/>
                  <a:pt x="66675" y="167640"/>
                  <a:pt x="69533" y="165735"/>
                </a:cubicBezTo>
                <a:cubicBezTo>
                  <a:pt x="69533" y="165735"/>
                  <a:pt x="69533" y="165735"/>
                  <a:pt x="69533" y="165735"/>
                </a:cubicBezTo>
                <a:cubicBezTo>
                  <a:pt x="75819" y="161639"/>
                  <a:pt x="82772" y="158496"/>
                  <a:pt x="90392" y="156496"/>
                </a:cubicBezTo>
                <a:cubicBezTo>
                  <a:pt x="90392" y="156496"/>
                  <a:pt x="90392" y="156496"/>
                  <a:pt x="90392" y="156496"/>
                </a:cubicBezTo>
                <a:cubicBezTo>
                  <a:pt x="95821" y="155162"/>
                  <a:pt x="101441" y="154305"/>
                  <a:pt x="107252" y="154305"/>
                </a:cubicBezTo>
                <a:cubicBezTo>
                  <a:pt x="128397" y="154305"/>
                  <a:pt x="148019" y="163830"/>
                  <a:pt x="161163" y="180499"/>
                </a:cubicBezTo>
                <a:lnTo>
                  <a:pt x="172403" y="171641"/>
                </a:lnTo>
                <a:cubicBezTo>
                  <a:pt x="156591" y="151543"/>
                  <a:pt x="132779" y="140017"/>
                  <a:pt x="107252" y="140017"/>
                </a:cubicBezTo>
                <a:cubicBezTo>
                  <a:pt x="102203" y="140017"/>
                  <a:pt x="97345" y="140494"/>
                  <a:pt x="92583" y="141446"/>
                </a:cubicBezTo>
                <a:cubicBezTo>
                  <a:pt x="89059" y="133731"/>
                  <a:pt x="87154" y="125349"/>
                  <a:pt x="87154" y="116872"/>
                </a:cubicBezTo>
                <a:cubicBezTo>
                  <a:pt x="87154" y="84011"/>
                  <a:pt x="113824" y="57340"/>
                  <a:pt x="146685" y="57340"/>
                </a:cubicBezTo>
                <a:cubicBezTo>
                  <a:pt x="150971" y="57340"/>
                  <a:pt x="155353" y="57817"/>
                  <a:pt x="159449" y="58674"/>
                </a:cubicBezTo>
                <a:cubicBezTo>
                  <a:pt x="163354" y="59531"/>
                  <a:pt x="167069" y="57055"/>
                  <a:pt x="167926" y="53245"/>
                </a:cubicBezTo>
                <a:cubicBezTo>
                  <a:pt x="172879" y="30480"/>
                  <a:pt x="193453" y="14002"/>
                  <a:pt x="216789" y="14002"/>
                </a:cubicBezTo>
                <a:cubicBezTo>
                  <a:pt x="244412" y="14002"/>
                  <a:pt x="266795" y="36385"/>
                  <a:pt x="266795" y="64008"/>
                </a:cubicBezTo>
                <a:lnTo>
                  <a:pt x="266795" y="285464"/>
                </a:lnTo>
                <a:lnTo>
                  <a:pt x="200787" y="285464"/>
                </a:lnTo>
                <a:cubicBezTo>
                  <a:pt x="170021" y="285464"/>
                  <a:pt x="142208" y="267176"/>
                  <a:pt x="130112" y="238887"/>
                </a:cubicBezTo>
                <a:lnTo>
                  <a:pt x="116967" y="244507"/>
                </a:lnTo>
                <a:cubicBezTo>
                  <a:pt x="131445" y="278035"/>
                  <a:pt x="164306" y="299657"/>
                  <a:pt x="200787" y="299657"/>
                </a:cubicBezTo>
                <a:lnTo>
                  <a:pt x="266795" y="299657"/>
                </a:lnTo>
                <a:lnTo>
                  <a:pt x="266795" y="521113"/>
                </a:lnTo>
                <a:cubicBezTo>
                  <a:pt x="266795" y="548735"/>
                  <a:pt x="244412" y="571119"/>
                  <a:pt x="216789" y="571119"/>
                </a:cubicBezTo>
                <a:cubicBezTo>
                  <a:pt x="197453" y="571119"/>
                  <a:pt x="180213" y="560070"/>
                  <a:pt x="171926" y="543116"/>
                </a:cubicBezTo>
                <a:cubicBezTo>
                  <a:pt x="203740" y="531495"/>
                  <a:pt x="226505" y="501015"/>
                  <a:pt x="226505" y="465296"/>
                </a:cubicBezTo>
                <a:lnTo>
                  <a:pt x="212217" y="465296"/>
                </a:lnTo>
                <a:cubicBezTo>
                  <a:pt x="212217" y="500158"/>
                  <a:pt x="186023" y="529019"/>
                  <a:pt x="152305" y="533305"/>
                </a:cubicBezTo>
                <a:lnTo>
                  <a:pt x="152305" y="533305"/>
                </a:lnTo>
                <a:cubicBezTo>
                  <a:pt x="149447" y="533686"/>
                  <a:pt x="146590" y="533876"/>
                  <a:pt x="143542" y="533876"/>
                </a:cubicBezTo>
                <a:cubicBezTo>
                  <a:pt x="105728" y="533876"/>
                  <a:pt x="74962" y="503111"/>
                  <a:pt x="74962" y="465296"/>
                </a:cubicBezTo>
                <a:cubicBezTo>
                  <a:pt x="74962" y="461582"/>
                  <a:pt x="75438" y="457772"/>
                  <a:pt x="76009" y="453961"/>
                </a:cubicBezTo>
                <a:cubicBezTo>
                  <a:pt x="84011" y="456057"/>
                  <a:pt x="92393" y="457200"/>
                  <a:pt x="101156" y="457200"/>
                </a:cubicBezTo>
                <a:cubicBezTo>
                  <a:pt x="114776" y="457200"/>
                  <a:pt x="128016" y="454533"/>
                  <a:pt x="140494" y="449294"/>
                </a:cubicBezTo>
                <a:lnTo>
                  <a:pt x="134969" y="436150"/>
                </a:lnTo>
                <a:cubicBezTo>
                  <a:pt x="124301" y="440722"/>
                  <a:pt x="112871" y="443008"/>
                  <a:pt x="101156" y="443008"/>
                </a:cubicBezTo>
                <a:cubicBezTo>
                  <a:pt x="91059" y="443008"/>
                  <a:pt x="81439" y="441198"/>
                  <a:pt x="72390" y="438055"/>
                </a:cubicBezTo>
                <a:cubicBezTo>
                  <a:pt x="66770" y="436055"/>
                  <a:pt x="61436" y="433578"/>
                  <a:pt x="56483" y="430530"/>
                </a:cubicBezTo>
                <a:cubicBezTo>
                  <a:pt x="55626" y="430054"/>
                  <a:pt x="54769" y="429482"/>
                  <a:pt x="53912" y="428911"/>
                </a:cubicBezTo>
                <a:cubicBezTo>
                  <a:pt x="52769" y="428244"/>
                  <a:pt x="51721" y="427482"/>
                  <a:pt x="50673" y="426720"/>
                </a:cubicBezTo>
                <a:cubicBezTo>
                  <a:pt x="49625" y="425958"/>
                  <a:pt x="48578" y="425196"/>
                  <a:pt x="47530" y="424339"/>
                </a:cubicBezTo>
                <a:cubicBezTo>
                  <a:pt x="46672" y="423672"/>
                  <a:pt x="45720" y="422910"/>
                  <a:pt x="44863" y="422148"/>
                </a:cubicBezTo>
                <a:cubicBezTo>
                  <a:pt x="43625" y="421100"/>
                  <a:pt x="42482" y="420053"/>
                  <a:pt x="41339" y="418910"/>
                </a:cubicBezTo>
                <a:cubicBezTo>
                  <a:pt x="40672" y="418338"/>
                  <a:pt x="40005" y="417671"/>
                  <a:pt x="39433" y="417100"/>
                </a:cubicBezTo>
                <a:cubicBezTo>
                  <a:pt x="37719" y="415385"/>
                  <a:pt x="36005" y="413576"/>
                  <a:pt x="34481" y="411671"/>
                </a:cubicBezTo>
                <a:cubicBezTo>
                  <a:pt x="34004" y="411194"/>
                  <a:pt x="33623" y="410623"/>
                  <a:pt x="33242" y="410051"/>
                </a:cubicBezTo>
                <a:cubicBezTo>
                  <a:pt x="32099" y="408623"/>
                  <a:pt x="30956" y="407099"/>
                  <a:pt x="29908" y="405575"/>
                </a:cubicBezTo>
                <a:cubicBezTo>
                  <a:pt x="29337" y="404717"/>
                  <a:pt x="28861" y="403955"/>
                  <a:pt x="28289" y="403098"/>
                </a:cubicBezTo>
                <a:cubicBezTo>
                  <a:pt x="27432" y="401765"/>
                  <a:pt x="26670" y="400431"/>
                  <a:pt x="25813" y="399098"/>
                </a:cubicBezTo>
                <a:cubicBezTo>
                  <a:pt x="25336" y="398240"/>
                  <a:pt x="24765" y="397288"/>
                  <a:pt x="24289" y="396335"/>
                </a:cubicBezTo>
                <a:cubicBezTo>
                  <a:pt x="23527" y="394907"/>
                  <a:pt x="22860" y="393383"/>
                  <a:pt x="22098" y="391859"/>
                </a:cubicBezTo>
                <a:cubicBezTo>
                  <a:pt x="21717" y="391001"/>
                  <a:pt x="21336" y="390239"/>
                  <a:pt x="20955" y="389382"/>
                </a:cubicBezTo>
                <a:cubicBezTo>
                  <a:pt x="20003" y="387096"/>
                  <a:pt x="19145" y="384810"/>
                  <a:pt x="18479" y="382524"/>
                </a:cubicBezTo>
                <a:cubicBezTo>
                  <a:pt x="18193" y="381667"/>
                  <a:pt x="18002" y="380810"/>
                  <a:pt x="17717" y="379857"/>
                </a:cubicBezTo>
                <a:cubicBezTo>
                  <a:pt x="17240" y="378238"/>
                  <a:pt x="16764" y="376619"/>
                  <a:pt x="16478" y="374904"/>
                </a:cubicBezTo>
                <a:cubicBezTo>
                  <a:pt x="16288" y="373952"/>
                  <a:pt x="16097" y="372904"/>
                  <a:pt x="15907" y="371951"/>
                </a:cubicBezTo>
                <a:cubicBezTo>
                  <a:pt x="15621" y="370237"/>
                  <a:pt x="15335" y="368522"/>
                  <a:pt x="15145" y="366712"/>
                </a:cubicBezTo>
                <a:cubicBezTo>
                  <a:pt x="15049" y="365855"/>
                  <a:pt x="14954" y="364998"/>
                  <a:pt x="14859" y="364046"/>
                </a:cubicBezTo>
                <a:cubicBezTo>
                  <a:pt x="14573" y="361379"/>
                  <a:pt x="14478" y="358711"/>
                  <a:pt x="14478" y="356045"/>
                </a:cubicBezTo>
                <a:cubicBezTo>
                  <a:pt x="14478" y="352520"/>
                  <a:pt x="14764" y="349091"/>
                  <a:pt x="15145" y="345662"/>
                </a:cubicBezTo>
                <a:cubicBezTo>
                  <a:pt x="15240" y="344710"/>
                  <a:pt x="15430" y="343757"/>
                  <a:pt x="15621" y="342805"/>
                </a:cubicBezTo>
                <a:cubicBezTo>
                  <a:pt x="16002" y="340328"/>
                  <a:pt x="16478" y="337757"/>
                  <a:pt x="17050" y="335375"/>
                </a:cubicBezTo>
                <a:cubicBezTo>
                  <a:pt x="17240" y="334423"/>
                  <a:pt x="17526" y="333470"/>
                  <a:pt x="17812" y="332423"/>
                </a:cubicBezTo>
                <a:cubicBezTo>
                  <a:pt x="18574" y="329851"/>
                  <a:pt x="19431" y="327279"/>
                  <a:pt x="20384" y="324707"/>
                </a:cubicBezTo>
                <a:cubicBezTo>
                  <a:pt x="20669" y="324041"/>
                  <a:pt x="20860" y="323374"/>
                  <a:pt x="21146" y="322707"/>
                </a:cubicBezTo>
                <a:cubicBezTo>
                  <a:pt x="23813" y="316325"/>
                  <a:pt x="27242" y="310420"/>
                  <a:pt x="31242" y="304800"/>
                </a:cubicBezTo>
                <a:cubicBezTo>
                  <a:pt x="31718" y="304133"/>
                  <a:pt x="32290" y="303467"/>
                  <a:pt x="32861" y="302800"/>
                </a:cubicBezTo>
                <a:cubicBezTo>
                  <a:pt x="34481" y="300704"/>
                  <a:pt x="36195" y="298704"/>
                  <a:pt x="38100" y="296704"/>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48" name="Freeform 112">
            <a:extLst>
              <a:ext uri="{FF2B5EF4-FFF2-40B4-BE49-F238E27FC236}">
                <a16:creationId xmlns:a16="http://schemas.microsoft.com/office/drawing/2014/main" id="{747B6401-6666-75FF-7BE7-B40674B9BFAB}"/>
              </a:ext>
            </a:extLst>
          </p:cNvPr>
          <p:cNvSpPr/>
          <p:nvPr/>
        </p:nvSpPr>
        <p:spPr>
          <a:xfrm>
            <a:off x="1102357" y="1297124"/>
            <a:ext cx="30138" cy="30138"/>
          </a:xfrm>
          <a:custGeom>
            <a:avLst/>
            <a:gdLst>
              <a:gd name="connsiteX0" fmla="*/ 64199 w 64198"/>
              <a:gd name="connsiteY0" fmla="*/ 14288 h 64198"/>
              <a:gd name="connsiteX1" fmla="*/ 64199 w 64198"/>
              <a:gd name="connsiteY1" fmla="*/ 0 h 64198"/>
              <a:gd name="connsiteX2" fmla="*/ 0 w 64198"/>
              <a:gd name="connsiteY2" fmla="*/ 64199 h 64198"/>
              <a:gd name="connsiteX3" fmla="*/ 14288 w 64198"/>
              <a:gd name="connsiteY3" fmla="*/ 64199 h 64198"/>
              <a:gd name="connsiteX4" fmla="*/ 64199 w 64198"/>
              <a:gd name="connsiteY4" fmla="*/ 14288 h 64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98" h="64198">
                <a:moveTo>
                  <a:pt x="64199" y="14288"/>
                </a:moveTo>
                <a:lnTo>
                  <a:pt x="64199" y="0"/>
                </a:lnTo>
                <a:cubicBezTo>
                  <a:pt x="28766" y="0"/>
                  <a:pt x="0" y="28766"/>
                  <a:pt x="0" y="64199"/>
                </a:cubicBezTo>
                <a:lnTo>
                  <a:pt x="14288" y="64199"/>
                </a:lnTo>
                <a:cubicBezTo>
                  <a:pt x="14288" y="36671"/>
                  <a:pt x="36671" y="14288"/>
                  <a:pt x="64199" y="14288"/>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49" name="Freeform 113">
            <a:extLst>
              <a:ext uri="{FF2B5EF4-FFF2-40B4-BE49-F238E27FC236}">
                <a16:creationId xmlns:a16="http://schemas.microsoft.com/office/drawing/2014/main" id="{460AD5F5-E090-9C22-4573-847E57B6727F}"/>
              </a:ext>
            </a:extLst>
          </p:cNvPr>
          <p:cNvSpPr/>
          <p:nvPr/>
        </p:nvSpPr>
        <p:spPr>
          <a:xfrm>
            <a:off x="1060996" y="1282592"/>
            <a:ext cx="30182" cy="30182"/>
          </a:xfrm>
          <a:custGeom>
            <a:avLst/>
            <a:gdLst>
              <a:gd name="connsiteX0" fmla="*/ 64294 w 64293"/>
              <a:gd name="connsiteY0" fmla="*/ 0 h 64293"/>
              <a:gd name="connsiteX1" fmla="*/ 50006 w 64293"/>
              <a:gd name="connsiteY1" fmla="*/ 0 h 64293"/>
              <a:gd name="connsiteX2" fmla="*/ 0 w 64293"/>
              <a:gd name="connsiteY2" fmla="*/ 50006 h 64293"/>
              <a:gd name="connsiteX3" fmla="*/ 0 w 64293"/>
              <a:gd name="connsiteY3" fmla="*/ 64294 h 64293"/>
              <a:gd name="connsiteX4" fmla="*/ 64294 w 64293"/>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3" h="64293">
                <a:moveTo>
                  <a:pt x="64294" y="0"/>
                </a:moveTo>
                <a:lnTo>
                  <a:pt x="50006" y="0"/>
                </a:lnTo>
                <a:cubicBezTo>
                  <a:pt x="50006" y="27623"/>
                  <a:pt x="27527" y="50006"/>
                  <a:pt x="0" y="50006"/>
                </a:cubicBezTo>
                <a:lnTo>
                  <a:pt x="0" y="64294"/>
                </a:lnTo>
                <a:cubicBezTo>
                  <a:pt x="35433" y="64294"/>
                  <a:pt x="64294" y="35433"/>
                  <a:pt x="64294" y="0"/>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0" name="Freeform 114">
            <a:extLst>
              <a:ext uri="{FF2B5EF4-FFF2-40B4-BE49-F238E27FC236}">
                <a16:creationId xmlns:a16="http://schemas.microsoft.com/office/drawing/2014/main" id="{A1E663CC-0720-AA36-84F0-119EEE8544A2}"/>
              </a:ext>
            </a:extLst>
          </p:cNvPr>
          <p:cNvSpPr/>
          <p:nvPr/>
        </p:nvSpPr>
        <p:spPr>
          <a:xfrm>
            <a:off x="1114654" y="1166198"/>
            <a:ext cx="30182" cy="30182"/>
          </a:xfrm>
          <a:custGeom>
            <a:avLst/>
            <a:gdLst>
              <a:gd name="connsiteX0" fmla="*/ 64294 w 64293"/>
              <a:gd name="connsiteY0" fmla="*/ 0 h 64293"/>
              <a:gd name="connsiteX1" fmla="*/ 50006 w 64293"/>
              <a:gd name="connsiteY1" fmla="*/ 0 h 64293"/>
              <a:gd name="connsiteX2" fmla="*/ 0 w 64293"/>
              <a:gd name="connsiteY2" fmla="*/ 50006 h 64293"/>
              <a:gd name="connsiteX3" fmla="*/ 0 w 64293"/>
              <a:gd name="connsiteY3" fmla="*/ 64294 h 64293"/>
              <a:gd name="connsiteX4" fmla="*/ 64294 w 64293"/>
              <a:gd name="connsiteY4" fmla="*/ 0 h 64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3" h="64293">
                <a:moveTo>
                  <a:pt x="64294" y="0"/>
                </a:moveTo>
                <a:lnTo>
                  <a:pt x="50006" y="0"/>
                </a:lnTo>
                <a:cubicBezTo>
                  <a:pt x="50006" y="27622"/>
                  <a:pt x="27527" y="50006"/>
                  <a:pt x="0" y="50006"/>
                </a:cubicBezTo>
                <a:lnTo>
                  <a:pt x="0" y="64294"/>
                </a:lnTo>
                <a:cubicBezTo>
                  <a:pt x="35433" y="64294"/>
                  <a:pt x="64294" y="35433"/>
                  <a:pt x="64294" y="0"/>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1" name="Freeform 125">
            <a:extLst>
              <a:ext uri="{FF2B5EF4-FFF2-40B4-BE49-F238E27FC236}">
                <a16:creationId xmlns:a16="http://schemas.microsoft.com/office/drawing/2014/main" id="{4E973490-0645-1E03-E262-B67901CA9219}"/>
              </a:ext>
            </a:extLst>
          </p:cNvPr>
          <p:cNvSpPr/>
          <p:nvPr/>
        </p:nvSpPr>
        <p:spPr>
          <a:xfrm>
            <a:off x="5109978" y="1136150"/>
            <a:ext cx="274997" cy="274997"/>
          </a:xfrm>
          <a:custGeom>
            <a:avLst/>
            <a:gdLst>
              <a:gd name="connsiteX0" fmla="*/ 585788 w 585787"/>
              <a:gd name="connsiteY0" fmla="*/ 292894 h 585787"/>
              <a:gd name="connsiteX1" fmla="*/ 292894 w 585787"/>
              <a:gd name="connsiteY1" fmla="*/ 585788 h 585787"/>
              <a:gd name="connsiteX2" fmla="*/ 90488 w 585787"/>
              <a:gd name="connsiteY2" fmla="*/ 504539 h 585787"/>
              <a:gd name="connsiteX3" fmla="*/ 90488 w 585787"/>
              <a:gd name="connsiteY3" fmla="*/ 559594 h 585787"/>
              <a:gd name="connsiteX4" fmla="*/ 76200 w 585787"/>
              <a:gd name="connsiteY4" fmla="*/ 559594 h 585787"/>
              <a:gd name="connsiteX5" fmla="*/ 76200 w 585787"/>
              <a:gd name="connsiteY5" fmla="*/ 483394 h 585787"/>
              <a:gd name="connsiteX6" fmla="*/ 83344 w 585787"/>
              <a:gd name="connsiteY6" fmla="*/ 476250 h 585787"/>
              <a:gd name="connsiteX7" fmla="*/ 159544 w 585787"/>
              <a:gd name="connsiteY7" fmla="*/ 476250 h 585787"/>
              <a:gd name="connsiteX8" fmla="*/ 159544 w 585787"/>
              <a:gd name="connsiteY8" fmla="*/ 490538 h 585787"/>
              <a:gd name="connsiteX9" fmla="*/ 96679 w 585787"/>
              <a:gd name="connsiteY9" fmla="*/ 490538 h 585787"/>
              <a:gd name="connsiteX10" fmla="*/ 292894 w 585787"/>
              <a:gd name="connsiteY10" fmla="*/ 571500 h 585787"/>
              <a:gd name="connsiteX11" fmla="*/ 571500 w 585787"/>
              <a:gd name="connsiteY11" fmla="*/ 292894 h 585787"/>
              <a:gd name="connsiteX12" fmla="*/ 540353 w 585787"/>
              <a:gd name="connsiteY12" fmla="*/ 164783 h 585787"/>
              <a:gd name="connsiteX13" fmla="*/ 553022 w 585787"/>
              <a:gd name="connsiteY13" fmla="*/ 158210 h 585787"/>
              <a:gd name="connsiteX14" fmla="*/ 585788 w 585787"/>
              <a:gd name="connsiteY14" fmla="*/ 292894 h 585787"/>
              <a:gd name="connsiteX15" fmla="*/ 218599 w 585787"/>
              <a:gd name="connsiteY15" fmla="*/ 24289 h 585787"/>
              <a:gd name="connsiteX16" fmla="*/ 292894 w 585787"/>
              <a:gd name="connsiteY16" fmla="*/ 14288 h 585787"/>
              <a:gd name="connsiteX17" fmla="*/ 489109 w 585787"/>
              <a:gd name="connsiteY17" fmla="*/ 95250 h 585787"/>
              <a:gd name="connsiteX18" fmla="*/ 426244 w 585787"/>
              <a:gd name="connsiteY18" fmla="*/ 95250 h 585787"/>
              <a:gd name="connsiteX19" fmla="*/ 426244 w 585787"/>
              <a:gd name="connsiteY19" fmla="*/ 109538 h 585787"/>
              <a:gd name="connsiteX20" fmla="*/ 502444 w 585787"/>
              <a:gd name="connsiteY20" fmla="*/ 109538 h 585787"/>
              <a:gd name="connsiteX21" fmla="*/ 509588 w 585787"/>
              <a:gd name="connsiteY21" fmla="*/ 102394 h 585787"/>
              <a:gd name="connsiteX22" fmla="*/ 509588 w 585787"/>
              <a:gd name="connsiteY22" fmla="*/ 26194 h 585787"/>
              <a:gd name="connsiteX23" fmla="*/ 495300 w 585787"/>
              <a:gd name="connsiteY23" fmla="*/ 26194 h 585787"/>
              <a:gd name="connsiteX24" fmla="*/ 495300 w 585787"/>
              <a:gd name="connsiteY24" fmla="*/ 81248 h 585787"/>
              <a:gd name="connsiteX25" fmla="*/ 292894 w 585787"/>
              <a:gd name="connsiteY25" fmla="*/ 0 h 585787"/>
              <a:gd name="connsiteX26" fmla="*/ 214789 w 585787"/>
              <a:gd name="connsiteY26" fmla="*/ 10573 h 585787"/>
              <a:gd name="connsiteX27" fmla="*/ 0 w 585787"/>
              <a:gd name="connsiteY27" fmla="*/ 292894 h 585787"/>
              <a:gd name="connsiteX28" fmla="*/ 32766 w 585787"/>
              <a:gd name="connsiteY28" fmla="*/ 427577 h 585787"/>
              <a:gd name="connsiteX29" fmla="*/ 45434 w 585787"/>
              <a:gd name="connsiteY29" fmla="*/ 421005 h 585787"/>
              <a:gd name="connsiteX30" fmla="*/ 14288 w 585787"/>
              <a:gd name="connsiteY30" fmla="*/ 292894 h 585787"/>
              <a:gd name="connsiteX31" fmla="*/ 218599 w 585787"/>
              <a:gd name="connsiteY31" fmla="*/ 24289 h 585787"/>
              <a:gd name="connsiteX32" fmla="*/ 273844 w 585787"/>
              <a:gd name="connsiteY32" fmla="*/ 300038 h 585787"/>
              <a:gd name="connsiteX33" fmla="*/ 350044 w 585787"/>
              <a:gd name="connsiteY33" fmla="*/ 300038 h 585787"/>
              <a:gd name="connsiteX34" fmla="*/ 350044 w 585787"/>
              <a:gd name="connsiteY34" fmla="*/ 285750 h 585787"/>
              <a:gd name="connsiteX35" fmla="*/ 273844 w 585787"/>
              <a:gd name="connsiteY35" fmla="*/ 285750 h 585787"/>
              <a:gd name="connsiteX36" fmla="*/ 273844 w 585787"/>
              <a:gd name="connsiteY36" fmla="*/ 300038 h 585787"/>
              <a:gd name="connsiteX37" fmla="*/ 242411 w 585787"/>
              <a:gd name="connsiteY37" fmla="*/ 286131 h 585787"/>
              <a:gd name="connsiteX38" fmla="*/ 232124 w 585787"/>
              <a:gd name="connsiteY38" fmla="*/ 284131 h 585787"/>
              <a:gd name="connsiteX39" fmla="*/ 230410 w 585787"/>
              <a:gd name="connsiteY39" fmla="*/ 284988 h 585787"/>
              <a:gd name="connsiteX40" fmla="*/ 228981 w 585787"/>
              <a:gd name="connsiteY40" fmla="*/ 286131 h 585787"/>
              <a:gd name="connsiteX41" fmla="*/ 226981 w 585787"/>
              <a:gd name="connsiteY41" fmla="*/ 289274 h 585787"/>
              <a:gd name="connsiteX42" fmla="*/ 226219 w 585787"/>
              <a:gd name="connsiteY42" fmla="*/ 292894 h 585787"/>
              <a:gd name="connsiteX43" fmla="*/ 228981 w 585787"/>
              <a:gd name="connsiteY43" fmla="*/ 299657 h 585787"/>
              <a:gd name="connsiteX44" fmla="*/ 230410 w 585787"/>
              <a:gd name="connsiteY44" fmla="*/ 300800 h 585787"/>
              <a:gd name="connsiteX45" fmla="*/ 232124 w 585787"/>
              <a:gd name="connsiteY45" fmla="*/ 301657 h 585787"/>
              <a:gd name="connsiteX46" fmla="*/ 235744 w 585787"/>
              <a:gd name="connsiteY46" fmla="*/ 302419 h 585787"/>
              <a:gd name="connsiteX47" fmla="*/ 242411 w 585787"/>
              <a:gd name="connsiteY47" fmla="*/ 299657 h 585787"/>
              <a:gd name="connsiteX48" fmla="*/ 245269 w 585787"/>
              <a:gd name="connsiteY48" fmla="*/ 292894 h 585787"/>
              <a:gd name="connsiteX49" fmla="*/ 244507 w 585787"/>
              <a:gd name="connsiteY49" fmla="*/ 289274 h 585787"/>
              <a:gd name="connsiteX50" fmla="*/ 242411 w 585787"/>
              <a:gd name="connsiteY50" fmla="*/ 286131 h 585787"/>
              <a:gd name="connsiteX51" fmla="*/ 350044 w 585787"/>
              <a:gd name="connsiteY51" fmla="*/ 361950 h 585787"/>
              <a:gd name="connsiteX52" fmla="*/ 273844 w 585787"/>
              <a:gd name="connsiteY52" fmla="*/ 361950 h 585787"/>
              <a:gd name="connsiteX53" fmla="*/ 273844 w 585787"/>
              <a:gd name="connsiteY53" fmla="*/ 376238 h 585787"/>
              <a:gd name="connsiteX54" fmla="*/ 350044 w 585787"/>
              <a:gd name="connsiteY54" fmla="*/ 376238 h 585787"/>
              <a:gd name="connsiteX55" fmla="*/ 350044 w 585787"/>
              <a:gd name="connsiteY55" fmla="*/ 361950 h 585787"/>
              <a:gd name="connsiteX56" fmla="*/ 230410 w 585787"/>
              <a:gd name="connsiteY56" fmla="*/ 377000 h 585787"/>
              <a:gd name="connsiteX57" fmla="*/ 232124 w 585787"/>
              <a:gd name="connsiteY57" fmla="*/ 377857 h 585787"/>
              <a:gd name="connsiteX58" fmla="*/ 235744 w 585787"/>
              <a:gd name="connsiteY58" fmla="*/ 378619 h 585787"/>
              <a:gd name="connsiteX59" fmla="*/ 242411 w 585787"/>
              <a:gd name="connsiteY59" fmla="*/ 375857 h 585787"/>
              <a:gd name="connsiteX60" fmla="*/ 245269 w 585787"/>
              <a:gd name="connsiteY60" fmla="*/ 369094 h 585787"/>
              <a:gd name="connsiteX61" fmla="*/ 245078 w 585787"/>
              <a:gd name="connsiteY61" fmla="*/ 367284 h 585787"/>
              <a:gd name="connsiteX62" fmla="*/ 244507 w 585787"/>
              <a:gd name="connsiteY62" fmla="*/ 365474 h 585787"/>
              <a:gd name="connsiteX63" fmla="*/ 243650 w 585787"/>
              <a:gd name="connsiteY63" fmla="*/ 363760 h 585787"/>
              <a:gd name="connsiteX64" fmla="*/ 242411 w 585787"/>
              <a:gd name="connsiteY64" fmla="*/ 362331 h 585787"/>
              <a:gd name="connsiteX65" fmla="*/ 232124 w 585787"/>
              <a:gd name="connsiteY65" fmla="*/ 360331 h 585787"/>
              <a:gd name="connsiteX66" fmla="*/ 230410 w 585787"/>
              <a:gd name="connsiteY66" fmla="*/ 361188 h 585787"/>
              <a:gd name="connsiteX67" fmla="*/ 228981 w 585787"/>
              <a:gd name="connsiteY67" fmla="*/ 362331 h 585787"/>
              <a:gd name="connsiteX68" fmla="*/ 227838 w 585787"/>
              <a:gd name="connsiteY68" fmla="*/ 363760 h 585787"/>
              <a:gd name="connsiteX69" fmla="*/ 226981 w 585787"/>
              <a:gd name="connsiteY69" fmla="*/ 365474 h 585787"/>
              <a:gd name="connsiteX70" fmla="*/ 226409 w 585787"/>
              <a:gd name="connsiteY70" fmla="*/ 367284 h 585787"/>
              <a:gd name="connsiteX71" fmla="*/ 226219 w 585787"/>
              <a:gd name="connsiteY71" fmla="*/ 369094 h 585787"/>
              <a:gd name="connsiteX72" fmla="*/ 228981 w 585787"/>
              <a:gd name="connsiteY72" fmla="*/ 375857 h 585787"/>
              <a:gd name="connsiteX73" fmla="*/ 230410 w 585787"/>
              <a:gd name="connsiteY73" fmla="*/ 377000 h 585787"/>
              <a:gd name="connsiteX74" fmla="*/ 388144 w 585787"/>
              <a:gd name="connsiteY74" fmla="*/ 171450 h 585787"/>
              <a:gd name="connsiteX75" fmla="*/ 395288 w 585787"/>
              <a:gd name="connsiteY75" fmla="*/ 178594 h 585787"/>
              <a:gd name="connsiteX76" fmla="*/ 395288 w 585787"/>
              <a:gd name="connsiteY76" fmla="*/ 407194 h 585787"/>
              <a:gd name="connsiteX77" fmla="*/ 388144 w 585787"/>
              <a:gd name="connsiteY77" fmla="*/ 414338 h 585787"/>
              <a:gd name="connsiteX78" fmla="*/ 197644 w 585787"/>
              <a:gd name="connsiteY78" fmla="*/ 414338 h 585787"/>
              <a:gd name="connsiteX79" fmla="*/ 190500 w 585787"/>
              <a:gd name="connsiteY79" fmla="*/ 407194 h 585787"/>
              <a:gd name="connsiteX80" fmla="*/ 190500 w 585787"/>
              <a:gd name="connsiteY80" fmla="*/ 178594 h 585787"/>
              <a:gd name="connsiteX81" fmla="*/ 197644 w 585787"/>
              <a:gd name="connsiteY81" fmla="*/ 171450 h 585787"/>
              <a:gd name="connsiteX82" fmla="*/ 388144 w 585787"/>
              <a:gd name="connsiteY82" fmla="*/ 171450 h 585787"/>
              <a:gd name="connsiteX83" fmla="*/ 204788 w 585787"/>
              <a:gd name="connsiteY83" fmla="*/ 323850 h 585787"/>
              <a:gd name="connsiteX84" fmla="*/ 381000 w 585787"/>
              <a:gd name="connsiteY84" fmla="*/ 323850 h 585787"/>
              <a:gd name="connsiteX85" fmla="*/ 381000 w 585787"/>
              <a:gd name="connsiteY85" fmla="*/ 261938 h 585787"/>
              <a:gd name="connsiteX86" fmla="*/ 204788 w 585787"/>
              <a:gd name="connsiteY86" fmla="*/ 261938 h 585787"/>
              <a:gd name="connsiteX87" fmla="*/ 204788 w 585787"/>
              <a:gd name="connsiteY87" fmla="*/ 323850 h 585787"/>
              <a:gd name="connsiteX88" fmla="*/ 204788 w 585787"/>
              <a:gd name="connsiteY88" fmla="*/ 247650 h 585787"/>
              <a:gd name="connsiteX89" fmla="*/ 381000 w 585787"/>
              <a:gd name="connsiteY89" fmla="*/ 247650 h 585787"/>
              <a:gd name="connsiteX90" fmla="*/ 381000 w 585787"/>
              <a:gd name="connsiteY90" fmla="*/ 185738 h 585787"/>
              <a:gd name="connsiteX91" fmla="*/ 204788 w 585787"/>
              <a:gd name="connsiteY91" fmla="*/ 185738 h 585787"/>
              <a:gd name="connsiteX92" fmla="*/ 204788 w 585787"/>
              <a:gd name="connsiteY92" fmla="*/ 247650 h 585787"/>
              <a:gd name="connsiteX93" fmla="*/ 381000 w 585787"/>
              <a:gd name="connsiteY93" fmla="*/ 338138 h 585787"/>
              <a:gd name="connsiteX94" fmla="*/ 204788 w 585787"/>
              <a:gd name="connsiteY94" fmla="*/ 338138 h 585787"/>
              <a:gd name="connsiteX95" fmla="*/ 204788 w 585787"/>
              <a:gd name="connsiteY95" fmla="*/ 400050 h 585787"/>
              <a:gd name="connsiteX96" fmla="*/ 381000 w 585787"/>
              <a:gd name="connsiteY96" fmla="*/ 400050 h 585787"/>
              <a:gd name="connsiteX97" fmla="*/ 381000 w 585787"/>
              <a:gd name="connsiteY97" fmla="*/ 338138 h 585787"/>
              <a:gd name="connsiteX98" fmla="*/ 273844 w 585787"/>
              <a:gd name="connsiteY98" fmla="*/ 223838 h 585787"/>
              <a:gd name="connsiteX99" fmla="*/ 350044 w 585787"/>
              <a:gd name="connsiteY99" fmla="*/ 223838 h 585787"/>
              <a:gd name="connsiteX100" fmla="*/ 350044 w 585787"/>
              <a:gd name="connsiteY100" fmla="*/ 209550 h 585787"/>
              <a:gd name="connsiteX101" fmla="*/ 273844 w 585787"/>
              <a:gd name="connsiteY101" fmla="*/ 209550 h 585787"/>
              <a:gd name="connsiteX102" fmla="*/ 273844 w 585787"/>
              <a:gd name="connsiteY102" fmla="*/ 223838 h 585787"/>
              <a:gd name="connsiteX103" fmla="*/ 242411 w 585787"/>
              <a:gd name="connsiteY103" fmla="*/ 209931 h 585787"/>
              <a:gd name="connsiteX104" fmla="*/ 232124 w 585787"/>
              <a:gd name="connsiteY104" fmla="*/ 207931 h 585787"/>
              <a:gd name="connsiteX105" fmla="*/ 230410 w 585787"/>
              <a:gd name="connsiteY105" fmla="*/ 208788 h 585787"/>
              <a:gd name="connsiteX106" fmla="*/ 228981 w 585787"/>
              <a:gd name="connsiteY106" fmla="*/ 209931 h 585787"/>
              <a:gd name="connsiteX107" fmla="*/ 226981 w 585787"/>
              <a:gd name="connsiteY107" fmla="*/ 213074 h 585787"/>
              <a:gd name="connsiteX108" fmla="*/ 226219 w 585787"/>
              <a:gd name="connsiteY108" fmla="*/ 216694 h 585787"/>
              <a:gd name="connsiteX109" fmla="*/ 228981 w 585787"/>
              <a:gd name="connsiteY109" fmla="*/ 223456 h 585787"/>
              <a:gd name="connsiteX110" fmla="*/ 230410 w 585787"/>
              <a:gd name="connsiteY110" fmla="*/ 224600 h 585787"/>
              <a:gd name="connsiteX111" fmla="*/ 232124 w 585787"/>
              <a:gd name="connsiteY111" fmla="*/ 225457 h 585787"/>
              <a:gd name="connsiteX112" fmla="*/ 235744 w 585787"/>
              <a:gd name="connsiteY112" fmla="*/ 226219 h 585787"/>
              <a:gd name="connsiteX113" fmla="*/ 242411 w 585787"/>
              <a:gd name="connsiteY113" fmla="*/ 223456 h 585787"/>
              <a:gd name="connsiteX114" fmla="*/ 245269 w 585787"/>
              <a:gd name="connsiteY114" fmla="*/ 216694 h 585787"/>
              <a:gd name="connsiteX115" fmla="*/ 244507 w 585787"/>
              <a:gd name="connsiteY115" fmla="*/ 213074 h 585787"/>
              <a:gd name="connsiteX116" fmla="*/ 242411 w 585787"/>
              <a:gd name="connsiteY116" fmla="*/ 209931 h 585787"/>
              <a:gd name="connsiteX117" fmla="*/ 407194 w 585787"/>
              <a:gd name="connsiteY117" fmla="*/ 381000 h 585787"/>
              <a:gd name="connsiteX118" fmla="*/ 407194 w 585787"/>
              <a:gd name="connsiteY118" fmla="*/ 395288 h 585787"/>
              <a:gd name="connsiteX119" fmla="*/ 464344 w 585787"/>
              <a:gd name="connsiteY119" fmla="*/ 395288 h 585787"/>
              <a:gd name="connsiteX120" fmla="*/ 471488 w 585787"/>
              <a:gd name="connsiteY120" fmla="*/ 388144 h 585787"/>
              <a:gd name="connsiteX121" fmla="*/ 471488 w 585787"/>
              <a:gd name="connsiteY121" fmla="*/ 197644 h 585787"/>
              <a:gd name="connsiteX122" fmla="*/ 464344 w 585787"/>
              <a:gd name="connsiteY122" fmla="*/ 190500 h 585787"/>
              <a:gd name="connsiteX123" fmla="*/ 407194 w 585787"/>
              <a:gd name="connsiteY123" fmla="*/ 190500 h 585787"/>
              <a:gd name="connsiteX124" fmla="*/ 407194 w 585787"/>
              <a:gd name="connsiteY124" fmla="*/ 204788 h 585787"/>
              <a:gd name="connsiteX125" fmla="*/ 457200 w 585787"/>
              <a:gd name="connsiteY125" fmla="*/ 204788 h 585787"/>
              <a:gd name="connsiteX126" fmla="*/ 457200 w 585787"/>
              <a:gd name="connsiteY126" fmla="*/ 381000 h 585787"/>
              <a:gd name="connsiteX127" fmla="*/ 407194 w 585787"/>
              <a:gd name="connsiteY127" fmla="*/ 381000 h 585787"/>
              <a:gd name="connsiteX128" fmla="*/ 178594 w 585787"/>
              <a:gd name="connsiteY128" fmla="*/ 204788 h 585787"/>
              <a:gd name="connsiteX129" fmla="*/ 178594 w 585787"/>
              <a:gd name="connsiteY129" fmla="*/ 190500 h 585787"/>
              <a:gd name="connsiteX130" fmla="*/ 121444 w 585787"/>
              <a:gd name="connsiteY130" fmla="*/ 190500 h 585787"/>
              <a:gd name="connsiteX131" fmla="*/ 114300 w 585787"/>
              <a:gd name="connsiteY131" fmla="*/ 197644 h 585787"/>
              <a:gd name="connsiteX132" fmla="*/ 114300 w 585787"/>
              <a:gd name="connsiteY132" fmla="*/ 388144 h 585787"/>
              <a:gd name="connsiteX133" fmla="*/ 121444 w 585787"/>
              <a:gd name="connsiteY133" fmla="*/ 395288 h 585787"/>
              <a:gd name="connsiteX134" fmla="*/ 178594 w 585787"/>
              <a:gd name="connsiteY134" fmla="*/ 395288 h 585787"/>
              <a:gd name="connsiteX135" fmla="*/ 178594 w 585787"/>
              <a:gd name="connsiteY135" fmla="*/ 381000 h 585787"/>
              <a:gd name="connsiteX136" fmla="*/ 128588 w 585787"/>
              <a:gd name="connsiteY136" fmla="*/ 381000 h 585787"/>
              <a:gd name="connsiteX137" fmla="*/ 128588 w 585787"/>
              <a:gd name="connsiteY137" fmla="*/ 204788 h 585787"/>
              <a:gd name="connsiteX138" fmla="*/ 178594 w 585787"/>
              <a:gd name="connsiteY138" fmla="*/ 20478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85787" h="585787">
                <a:moveTo>
                  <a:pt x="585788" y="292894"/>
                </a:moveTo>
                <a:cubicBezTo>
                  <a:pt x="585788" y="454438"/>
                  <a:pt x="454438" y="585788"/>
                  <a:pt x="292894" y="585788"/>
                </a:cubicBezTo>
                <a:cubicBezTo>
                  <a:pt x="216599" y="585788"/>
                  <a:pt x="145256" y="557022"/>
                  <a:pt x="90488" y="504539"/>
                </a:cubicBezTo>
                <a:lnTo>
                  <a:pt x="90488" y="559594"/>
                </a:lnTo>
                <a:lnTo>
                  <a:pt x="76200" y="559594"/>
                </a:lnTo>
                <a:lnTo>
                  <a:pt x="76200" y="483394"/>
                </a:lnTo>
                <a:cubicBezTo>
                  <a:pt x="76200" y="479489"/>
                  <a:pt x="79439" y="476250"/>
                  <a:pt x="83344" y="476250"/>
                </a:cubicBezTo>
                <a:lnTo>
                  <a:pt x="159544" y="476250"/>
                </a:lnTo>
                <a:lnTo>
                  <a:pt x="159544" y="490538"/>
                </a:lnTo>
                <a:lnTo>
                  <a:pt x="96679" y="490538"/>
                </a:lnTo>
                <a:cubicBezTo>
                  <a:pt x="149162" y="542735"/>
                  <a:pt x="218599" y="571500"/>
                  <a:pt x="292894" y="571500"/>
                </a:cubicBezTo>
                <a:cubicBezTo>
                  <a:pt x="446532" y="571500"/>
                  <a:pt x="571500" y="446532"/>
                  <a:pt x="571500" y="292894"/>
                </a:cubicBezTo>
                <a:cubicBezTo>
                  <a:pt x="571500" y="247745"/>
                  <a:pt x="561023" y="204597"/>
                  <a:pt x="540353" y="164783"/>
                </a:cubicBezTo>
                <a:lnTo>
                  <a:pt x="553022" y="158210"/>
                </a:lnTo>
                <a:cubicBezTo>
                  <a:pt x="574453" y="199454"/>
                  <a:pt x="585788" y="246031"/>
                  <a:pt x="585788" y="292894"/>
                </a:cubicBezTo>
                <a:close/>
                <a:moveTo>
                  <a:pt x="218599" y="24289"/>
                </a:moveTo>
                <a:cubicBezTo>
                  <a:pt x="242697" y="17621"/>
                  <a:pt x="267653" y="14288"/>
                  <a:pt x="292894" y="14288"/>
                </a:cubicBezTo>
                <a:cubicBezTo>
                  <a:pt x="367189" y="14288"/>
                  <a:pt x="436626" y="43053"/>
                  <a:pt x="489109" y="95250"/>
                </a:cubicBezTo>
                <a:lnTo>
                  <a:pt x="426244" y="95250"/>
                </a:lnTo>
                <a:lnTo>
                  <a:pt x="426244" y="109538"/>
                </a:lnTo>
                <a:lnTo>
                  <a:pt x="502444" y="109538"/>
                </a:lnTo>
                <a:cubicBezTo>
                  <a:pt x="506349" y="109538"/>
                  <a:pt x="509588" y="106299"/>
                  <a:pt x="509588" y="102394"/>
                </a:cubicBezTo>
                <a:lnTo>
                  <a:pt x="509588" y="26194"/>
                </a:lnTo>
                <a:lnTo>
                  <a:pt x="495300" y="26194"/>
                </a:lnTo>
                <a:lnTo>
                  <a:pt x="495300" y="81248"/>
                </a:lnTo>
                <a:cubicBezTo>
                  <a:pt x="440531" y="28766"/>
                  <a:pt x="369189" y="0"/>
                  <a:pt x="292894" y="0"/>
                </a:cubicBezTo>
                <a:cubicBezTo>
                  <a:pt x="266414" y="0"/>
                  <a:pt x="240125" y="3524"/>
                  <a:pt x="214789" y="10573"/>
                </a:cubicBezTo>
                <a:cubicBezTo>
                  <a:pt x="88297" y="45434"/>
                  <a:pt x="0" y="161544"/>
                  <a:pt x="0" y="292894"/>
                </a:cubicBezTo>
                <a:cubicBezTo>
                  <a:pt x="0" y="339662"/>
                  <a:pt x="11335" y="386239"/>
                  <a:pt x="32766" y="427577"/>
                </a:cubicBezTo>
                <a:lnTo>
                  <a:pt x="45434" y="421005"/>
                </a:lnTo>
                <a:cubicBezTo>
                  <a:pt x="24765" y="381191"/>
                  <a:pt x="14288" y="338138"/>
                  <a:pt x="14288" y="292894"/>
                </a:cubicBezTo>
                <a:cubicBezTo>
                  <a:pt x="14288" y="167926"/>
                  <a:pt x="98298" y="57531"/>
                  <a:pt x="218599" y="24289"/>
                </a:cubicBezTo>
                <a:close/>
                <a:moveTo>
                  <a:pt x="273844" y="300038"/>
                </a:moveTo>
                <a:lnTo>
                  <a:pt x="350044" y="300038"/>
                </a:lnTo>
                <a:lnTo>
                  <a:pt x="350044" y="285750"/>
                </a:lnTo>
                <a:lnTo>
                  <a:pt x="273844" y="285750"/>
                </a:lnTo>
                <a:lnTo>
                  <a:pt x="273844" y="300038"/>
                </a:lnTo>
                <a:close/>
                <a:moveTo>
                  <a:pt x="242411" y="286131"/>
                </a:moveTo>
                <a:cubicBezTo>
                  <a:pt x="239840" y="283559"/>
                  <a:pt x="235649" y="282702"/>
                  <a:pt x="232124" y="284131"/>
                </a:cubicBezTo>
                <a:cubicBezTo>
                  <a:pt x="231553" y="284321"/>
                  <a:pt x="230981" y="284607"/>
                  <a:pt x="230410" y="284988"/>
                </a:cubicBezTo>
                <a:lnTo>
                  <a:pt x="228981" y="286131"/>
                </a:lnTo>
                <a:cubicBezTo>
                  <a:pt x="228124" y="287084"/>
                  <a:pt x="227457" y="288036"/>
                  <a:pt x="226981" y="289274"/>
                </a:cubicBezTo>
                <a:cubicBezTo>
                  <a:pt x="226504" y="290417"/>
                  <a:pt x="226219" y="291656"/>
                  <a:pt x="226219" y="292894"/>
                </a:cubicBezTo>
                <a:cubicBezTo>
                  <a:pt x="226219" y="295466"/>
                  <a:pt x="227267" y="297847"/>
                  <a:pt x="228981" y="299657"/>
                </a:cubicBezTo>
                <a:lnTo>
                  <a:pt x="230410" y="300800"/>
                </a:lnTo>
                <a:cubicBezTo>
                  <a:pt x="230981" y="301181"/>
                  <a:pt x="231553" y="301466"/>
                  <a:pt x="232124" y="301657"/>
                </a:cubicBezTo>
                <a:cubicBezTo>
                  <a:pt x="233267" y="302133"/>
                  <a:pt x="234505" y="302419"/>
                  <a:pt x="235744" y="302419"/>
                </a:cubicBezTo>
                <a:cubicBezTo>
                  <a:pt x="238316" y="302419"/>
                  <a:pt x="240697" y="301371"/>
                  <a:pt x="242411" y="299657"/>
                </a:cubicBezTo>
                <a:cubicBezTo>
                  <a:pt x="244221" y="297847"/>
                  <a:pt x="245269" y="295466"/>
                  <a:pt x="245269" y="292894"/>
                </a:cubicBezTo>
                <a:cubicBezTo>
                  <a:pt x="245269" y="291656"/>
                  <a:pt x="244983" y="290417"/>
                  <a:pt x="244507" y="289274"/>
                </a:cubicBezTo>
                <a:cubicBezTo>
                  <a:pt x="244030" y="288036"/>
                  <a:pt x="243364" y="287084"/>
                  <a:pt x="242411" y="286131"/>
                </a:cubicBezTo>
                <a:close/>
                <a:moveTo>
                  <a:pt x="350044" y="361950"/>
                </a:moveTo>
                <a:lnTo>
                  <a:pt x="273844" y="361950"/>
                </a:lnTo>
                <a:lnTo>
                  <a:pt x="273844" y="376238"/>
                </a:lnTo>
                <a:lnTo>
                  <a:pt x="350044" y="376238"/>
                </a:lnTo>
                <a:lnTo>
                  <a:pt x="350044" y="361950"/>
                </a:lnTo>
                <a:close/>
                <a:moveTo>
                  <a:pt x="230410" y="377000"/>
                </a:moveTo>
                <a:cubicBezTo>
                  <a:pt x="230981" y="377381"/>
                  <a:pt x="231553" y="377666"/>
                  <a:pt x="232124" y="377857"/>
                </a:cubicBezTo>
                <a:cubicBezTo>
                  <a:pt x="233267" y="378333"/>
                  <a:pt x="234505" y="378619"/>
                  <a:pt x="235744" y="378619"/>
                </a:cubicBezTo>
                <a:cubicBezTo>
                  <a:pt x="238220" y="378619"/>
                  <a:pt x="240697" y="377571"/>
                  <a:pt x="242411" y="375857"/>
                </a:cubicBezTo>
                <a:cubicBezTo>
                  <a:pt x="244221" y="374047"/>
                  <a:pt x="245269" y="371570"/>
                  <a:pt x="245269" y="369094"/>
                </a:cubicBezTo>
                <a:cubicBezTo>
                  <a:pt x="245269" y="368522"/>
                  <a:pt x="245174" y="367856"/>
                  <a:pt x="245078" y="367284"/>
                </a:cubicBezTo>
                <a:cubicBezTo>
                  <a:pt x="245078" y="366617"/>
                  <a:pt x="244793" y="366046"/>
                  <a:pt x="244507" y="365474"/>
                </a:cubicBezTo>
                <a:cubicBezTo>
                  <a:pt x="244316" y="364903"/>
                  <a:pt x="244030" y="364331"/>
                  <a:pt x="243650" y="363760"/>
                </a:cubicBezTo>
                <a:cubicBezTo>
                  <a:pt x="243269" y="363284"/>
                  <a:pt x="242888" y="362807"/>
                  <a:pt x="242411" y="362331"/>
                </a:cubicBezTo>
                <a:cubicBezTo>
                  <a:pt x="239840" y="359664"/>
                  <a:pt x="235649" y="358807"/>
                  <a:pt x="232124" y="360331"/>
                </a:cubicBezTo>
                <a:cubicBezTo>
                  <a:pt x="231553" y="360521"/>
                  <a:pt x="230981" y="360807"/>
                  <a:pt x="230410" y="361188"/>
                </a:cubicBezTo>
                <a:cubicBezTo>
                  <a:pt x="229934" y="361474"/>
                  <a:pt x="229457" y="361950"/>
                  <a:pt x="228981" y="362331"/>
                </a:cubicBezTo>
                <a:cubicBezTo>
                  <a:pt x="228600" y="362807"/>
                  <a:pt x="228124" y="363284"/>
                  <a:pt x="227838" y="363760"/>
                </a:cubicBezTo>
                <a:cubicBezTo>
                  <a:pt x="227457" y="364331"/>
                  <a:pt x="227171" y="364903"/>
                  <a:pt x="226981" y="365474"/>
                </a:cubicBezTo>
                <a:cubicBezTo>
                  <a:pt x="226695" y="366046"/>
                  <a:pt x="226504" y="366617"/>
                  <a:pt x="226409" y="367284"/>
                </a:cubicBezTo>
                <a:cubicBezTo>
                  <a:pt x="226409" y="367856"/>
                  <a:pt x="226219" y="368522"/>
                  <a:pt x="226219" y="369094"/>
                </a:cubicBezTo>
                <a:cubicBezTo>
                  <a:pt x="226219" y="371570"/>
                  <a:pt x="227267" y="374047"/>
                  <a:pt x="228981" y="375857"/>
                </a:cubicBezTo>
                <a:cubicBezTo>
                  <a:pt x="229457" y="376238"/>
                  <a:pt x="229934" y="376714"/>
                  <a:pt x="230410" y="377000"/>
                </a:cubicBezTo>
                <a:close/>
                <a:moveTo>
                  <a:pt x="388144" y="171450"/>
                </a:moveTo>
                <a:cubicBezTo>
                  <a:pt x="392049" y="171450"/>
                  <a:pt x="395288" y="174689"/>
                  <a:pt x="395288" y="178594"/>
                </a:cubicBezTo>
                <a:lnTo>
                  <a:pt x="395288" y="407194"/>
                </a:lnTo>
                <a:cubicBezTo>
                  <a:pt x="395288" y="411099"/>
                  <a:pt x="392049" y="414338"/>
                  <a:pt x="388144" y="414338"/>
                </a:cubicBezTo>
                <a:lnTo>
                  <a:pt x="197644" y="414338"/>
                </a:lnTo>
                <a:cubicBezTo>
                  <a:pt x="193739" y="414338"/>
                  <a:pt x="190500" y="411099"/>
                  <a:pt x="190500" y="407194"/>
                </a:cubicBezTo>
                <a:lnTo>
                  <a:pt x="190500" y="178594"/>
                </a:lnTo>
                <a:cubicBezTo>
                  <a:pt x="190500" y="174689"/>
                  <a:pt x="193739" y="171450"/>
                  <a:pt x="197644" y="171450"/>
                </a:cubicBezTo>
                <a:lnTo>
                  <a:pt x="388144" y="171450"/>
                </a:lnTo>
                <a:close/>
                <a:moveTo>
                  <a:pt x="204788" y="323850"/>
                </a:moveTo>
                <a:lnTo>
                  <a:pt x="381000" y="323850"/>
                </a:lnTo>
                <a:lnTo>
                  <a:pt x="381000" y="261938"/>
                </a:lnTo>
                <a:lnTo>
                  <a:pt x="204788" y="261938"/>
                </a:lnTo>
                <a:lnTo>
                  <a:pt x="204788" y="323850"/>
                </a:lnTo>
                <a:close/>
                <a:moveTo>
                  <a:pt x="204788" y="247650"/>
                </a:moveTo>
                <a:lnTo>
                  <a:pt x="381000" y="247650"/>
                </a:lnTo>
                <a:lnTo>
                  <a:pt x="381000" y="185738"/>
                </a:lnTo>
                <a:lnTo>
                  <a:pt x="204788" y="185738"/>
                </a:lnTo>
                <a:lnTo>
                  <a:pt x="204788" y="247650"/>
                </a:lnTo>
                <a:close/>
                <a:moveTo>
                  <a:pt x="381000" y="338138"/>
                </a:moveTo>
                <a:lnTo>
                  <a:pt x="204788" y="338138"/>
                </a:lnTo>
                <a:lnTo>
                  <a:pt x="204788" y="400050"/>
                </a:lnTo>
                <a:lnTo>
                  <a:pt x="381000" y="400050"/>
                </a:lnTo>
                <a:lnTo>
                  <a:pt x="381000" y="338138"/>
                </a:lnTo>
                <a:close/>
                <a:moveTo>
                  <a:pt x="273844" y="223838"/>
                </a:moveTo>
                <a:lnTo>
                  <a:pt x="350044" y="223838"/>
                </a:lnTo>
                <a:lnTo>
                  <a:pt x="350044" y="209550"/>
                </a:lnTo>
                <a:lnTo>
                  <a:pt x="273844" y="209550"/>
                </a:lnTo>
                <a:lnTo>
                  <a:pt x="273844" y="223838"/>
                </a:lnTo>
                <a:close/>
                <a:moveTo>
                  <a:pt x="242411" y="209931"/>
                </a:moveTo>
                <a:cubicBezTo>
                  <a:pt x="239840" y="207359"/>
                  <a:pt x="235649" y="206502"/>
                  <a:pt x="232124" y="207931"/>
                </a:cubicBezTo>
                <a:cubicBezTo>
                  <a:pt x="231553" y="208121"/>
                  <a:pt x="230981" y="208407"/>
                  <a:pt x="230410" y="208788"/>
                </a:cubicBezTo>
                <a:cubicBezTo>
                  <a:pt x="229934" y="209074"/>
                  <a:pt x="229457" y="209550"/>
                  <a:pt x="228981" y="209931"/>
                </a:cubicBezTo>
                <a:cubicBezTo>
                  <a:pt x="228124" y="210788"/>
                  <a:pt x="227457" y="211836"/>
                  <a:pt x="226981" y="213074"/>
                </a:cubicBezTo>
                <a:cubicBezTo>
                  <a:pt x="226504" y="214217"/>
                  <a:pt x="226219" y="215456"/>
                  <a:pt x="226219" y="216694"/>
                </a:cubicBezTo>
                <a:cubicBezTo>
                  <a:pt x="226219" y="219170"/>
                  <a:pt x="227267" y="221647"/>
                  <a:pt x="228981" y="223456"/>
                </a:cubicBezTo>
                <a:cubicBezTo>
                  <a:pt x="229457" y="223838"/>
                  <a:pt x="229934" y="224314"/>
                  <a:pt x="230410" y="224600"/>
                </a:cubicBezTo>
                <a:cubicBezTo>
                  <a:pt x="230981" y="224980"/>
                  <a:pt x="231553" y="225266"/>
                  <a:pt x="232124" y="225457"/>
                </a:cubicBezTo>
                <a:cubicBezTo>
                  <a:pt x="233267" y="225933"/>
                  <a:pt x="234505" y="226219"/>
                  <a:pt x="235744" y="226219"/>
                </a:cubicBezTo>
                <a:cubicBezTo>
                  <a:pt x="238220" y="226219"/>
                  <a:pt x="240697" y="225171"/>
                  <a:pt x="242411" y="223456"/>
                </a:cubicBezTo>
                <a:cubicBezTo>
                  <a:pt x="244221" y="221647"/>
                  <a:pt x="245269" y="219170"/>
                  <a:pt x="245269" y="216694"/>
                </a:cubicBezTo>
                <a:cubicBezTo>
                  <a:pt x="245269" y="215456"/>
                  <a:pt x="244983" y="214217"/>
                  <a:pt x="244507" y="213074"/>
                </a:cubicBezTo>
                <a:cubicBezTo>
                  <a:pt x="244030" y="211836"/>
                  <a:pt x="243364" y="210788"/>
                  <a:pt x="242411" y="209931"/>
                </a:cubicBezTo>
                <a:close/>
                <a:moveTo>
                  <a:pt x="407194" y="381000"/>
                </a:moveTo>
                <a:lnTo>
                  <a:pt x="407194" y="395288"/>
                </a:lnTo>
                <a:lnTo>
                  <a:pt x="464344" y="395288"/>
                </a:lnTo>
                <a:cubicBezTo>
                  <a:pt x="468249" y="395288"/>
                  <a:pt x="471488" y="392049"/>
                  <a:pt x="471488" y="388144"/>
                </a:cubicBezTo>
                <a:lnTo>
                  <a:pt x="471488" y="197644"/>
                </a:lnTo>
                <a:cubicBezTo>
                  <a:pt x="471488" y="193739"/>
                  <a:pt x="468249" y="190500"/>
                  <a:pt x="464344" y="190500"/>
                </a:cubicBezTo>
                <a:lnTo>
                  <a:pt x="407194" y="190500"/>
                </a:lnTo>
                <a:lnTo>
                  <a:pt x="407194" y="204788"/>
                </a:lnTo>
                <a:lnTo>
                  <a:pt x="457200" y="204788"/>
                </a:lnTo>
                <a:lnTo>
                  <a:pt x="457200" y="381000"/>
                </a:lnTo>
                <a:lnTo>
                  <a:pt x="407194" y="381000"/>
                </a:lnTo>
                <a:close/>
                <a:moveTo>
                  <a:pt x="178594" y="204788"/>
                </a:moveTo>
                <a:lnTo>
                  <a:pt x="178594" y="190500"/>
                </a:lnTo>
                <a:lnTo>
                  <a:pt x="121444" y="190500"/>
                </a:lnTo>
                <a:cubicBezTo>
                  <a:pt x="117539" y="190500"/>
                  <a:pt x="114300" y="193739"/>
                  <a:pt x="114300" y="197644"/>
                </a:cubicBezTo>
                <a:lnTo>
                  <a:pt x="114300" y="388144"/>
                </a:lnTo>
                <a:cubicBezTo>
                  <a:pt x="114300" y="392049"/>
                  <a:pt x="117539" y="395288"/>
                  <a:pt x="121444" y="395288"/>
                </a:cubicBezTo>
                <a:lnTo>
                  <a:pt x="178594" y="395288"/>
                </a:lnTo>
                <a:lnTo>
                  <a:pt x="178594" y="381000"/>
                </a:lnTo>
                <a:lnTo>
                  <a:pt x="128588" y="381000"/>
                </a:lnTo>
                <a:lnTo>
                  <a:pt x="128588" y="204788"/>
                </a:lnTo>
                <a:lnTo>
                  <a:pt x="178594" y="204788"/>
                </a:ln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4" name="Freeform 126">
            <a:extLst>
              <a:ext uri="{FF2B5EF4-FFF2-40B4-BE49-F238E27FC236}">
                <a16:creationId xmlns:a16="http://schemas.microsoft.com/office/drawing/2014/main" id="{C03AAD33-AC23-D6F1-48AE-41B8A0E44149}"/>
              </a:ext>
            </a:extLst>
          </p:cNvPr>
          <p:cNvSpPr/>
          <p:nvPr/>
        </p:nvSpPr>
        <p:spPr>
          <a:xfrm>
            <a:off x="3055805" y="1133355"/>
            <a:ext cx="286175" cy="280586"/>
          </a:xfrm>
          <a:custGeom>
            <a:avLst/>
            <a:gdLst>
              <a:gd name="connsiteX0" fmla="*/ 533495 w 609600"/>
              <a:gd name="connsiteY0" fmla="*/ 400050 h 597693"/>
              <a:gd name="connsiteX1" fmla="*/ 488251 w 609600"/>
              <a:gd name="connsiteY1" fmla="*/ 445294 h 597693"/>
              <a:gd name="connsiteX2" fmla="*/ 533495 w 609600"/>
              <a:gd name="connsiteY2" fmla="*/ 490538 h 597693"/>
              <a:gd name="connsiteX3" fmla="*/ 578739 w 609600"/>
              <a:gd name="connsiteY3" fmla="*/ 445294 h 597693"/>
              <a:gd name="connsiteX4" fmla="*/ 533495 w 609600"/>
              <a:gd name="connsiteY4" fmla="*/ 400050 h 597693"/>
              <a:gd name="connsiteX5" fmla="*/ 533495 w 609600"/>
              <a:gd name="connsiteY5" fmla="*/ 476250 h 597693"/>
              <a:gd name="connsiteX6" fmla="*/ 502539 w 609600"/>
              <a:gd name="connsiteY6" fmla="*/ 445294 h 597693"/>
              <a:gd name="connsiteX7" fmla="*/ 533495 w 609600"/>
              <a:gd name="connsiteY7" fmla="*/ 414338 h 597693"/>
              <a:gd name="connsiteX8" fmla="*/ 564452 w 609600"/>
              <a:gd name="connsiteY8" fmla="*/ 445294 h 597693"/>
              <a:gd name="connsiteX9" fmla="*/ 533495 w 609600"/>
              <a:gd name="connsiteY9" fmla="*/ 476250 h 597693"/>
              <a:gd name="connsiteX10" fmla="*/ 583502 w 609600"/>
              <a:gd name="connsiteY10" fmla="*/ 597694 h 597693"/>
              <a:gd name="connsiteX11" fmla="*/ 583502 w 609600"/>
              <a:gd name="connsiteY11" fmla="*/ 553784 h 597693"/>
              <a:gd name="connsiteX12" fmla="*/ 559213 w 609600"/>
              <a:gd name="connsiteY12" fmla="*/ 528638 h 597693"/>
              <a:gd name="connsiteX13" fmla="*/ 507683 w 609600"/>
              <a:gd name="connsiteY13" fmla="*/ 528638 h 597693"/>
              <a:gd name="connsiteX14" fmla="*/ 483394 w 609600"/>
              <a:gd name="connsiteY14" fmla="*/ 553784 h 597693"/>
              <a:gd name="connsiteX15" fmla="*/ 483394 w 609600"/>
              <a:gd name="connsiteY15" fmla="*/ 597694 h 597693"/>
              <a:gd name="connsiteX16" fmla="*/ 469106 w 609600"/>
              <a:gd name="connsiteY16" fmla="*/ 597694 h 597693"/>
              <a:gd name="connsiteX17" fmla="*/ 469106 w 609600"/>
              <a:gd name="connsiteY17" fmla="*/ 553784 h 597693"/>
              <a:gd name="connsiteX18" fmla="*/ 507683 w 609600"/>
              <a:gd name="connsiteY18" fmla="*/ 514350 h 597693"/>
              <a:gd name="connsiteX19" fmla="*/ 559213 w 609600"/>
              <a:gd name="connsiteY19" fmla="*/ 514350 h 597693"/>
              <a:gd name="connsiteX20" fmla="*/ 597789 w 609600"/>
              <a:gd name="connsiteY20" fmla="*/ 553784 h 597693"/>
              <a:gd name="connsiteX21" fmla="*/ 597789 w 609600"/>
              <a:gd name="connsiteY21" fmla="*/ 597694 h 597693"/>
              <a:gd name="connsiteX22" fmla="*/ 583502 w 609600"/>
              <a:gd name="connsiteY22" fmla="*/ 597694 h 597693"/>
              <a:gd name="connsiteX23" fmla="*/ 335851 w 609600"/>
              <a:gd name="connsiteY23" fmla="*/ 445294 h 597693"/>
              <a:gd name="connsiteX24" fmla="*/ 381095 w 609600"/>
              <a:gd name="connsiteY24" fmla="*/ 490538 h 597693"/>
              <a:gd name="connsiteX25" fmla="*/ 426339 w 609600"/>
              <a:gd name="connsiteY25" fmla="*/ 445294 h 597693"/>
              <a:gd name="connsiteX26" fmla="*/ 381095 w 609600"/>
              <a:gd name="connsiteY26" fmla="*/ 400050 h 597693"/>
              <a:gd name="connsiteX27" fmla="*/ 335851 w 609600"/>
              <a:gd name="connsiteY27" fmla="*/ 445294 h 597693"/>
              <a:gd name="connsiteX28" fmla="*/ 412051 w 609600"/>
              <a:gd name="connsiteY28" fmla="*/ 445294 h 597693"/>
              <a:gd name="connsiteX29" fmla="*/ 381095 w 609600"/>
              <a:gd name="connsiteY29" fmla="*/ 476250 h 597693"/>
              <a:gd name="connsiteX30" fmla="*/ 350139 w 609600"/>
              <a:gd name="connsiteY30" fmla="*/ 445294 h 597693"/>
              <a:gd name="connsiteX31" fmla="*/ 381095 w 609600"/>
              <a:gd name="connsiteY31" fmla="*/ 414338 h 597693"/>
              <a:gd name="connsiteX32" fmla="*/ 412051 w 609600"/>
              <a:gd name="connsiteY32" fmla="*/ 445294 h 597693"/>
              <a:gd name="connsiteX33" fmla="*/ 502539 w 609600"/>
              <a:gd name="connsiteY33" fmla="*/ 369094 h 597693"/>
              <a:gd name="connsiteX34" fmla="*/ 496443 w 609600"/>
              <a:gd name="connsiteY34" fmla="*/ 391763 h 597693"/>
              <a:gd name="connsiteX35" fmla="*/ 484061 w 609600"/>
              <a:gd name="connsiteY35" fmla="*/ 384620 h 597693"/>
              <a:gd name="connsiteX36" fmla="*/ 488156 w 609600"/>
              <a:gd name="connsiteY36" fmla="*/ 369189 h 597693"/>
              <a:gd name="connsiteX37" fmla="*/ 457200 w 609600"/>
              <a:gd name="connsiteY37" fmla="*/ 338233 h 597693"/>
              <a:gd name="connsiteX38" fmla="*/ 426244 w 609600"/>
              <a:gd name="connsiteY38" fmla="*/ 369189 h 597693"/>
              <a:gd name="connsiteX39" fmla="*/ 430340 w 609600"/>
              <a:gd name="connsiteY39" fmla="*/ 384620 h 597693"/>
              <a:gd name="connsiteX40" fmla="*/ 417957 w 609600"/>
              <a:gd name="connsiteY40" fmla="*/ 391763 h 597693"/>
              <a:gd name="connsiteX41" fmla="*/ 411861 w 609600"/>
              <a:gd name="connsiteY41" fmla="*/ 369094 h 597693"/>
              <a:gd name="connsiteX42" fmla="*/ 457105 w 609600"/>
              <a:gd name="connsiteY42" fmla="*/ 323850 h 597693"/>
              <a:gd name="connsiteX43" fmla="*/ 502349 w 609600"/>
              <a:gd name="connsiteY43" fmla="*/ 369094 h 597693"/>
              <a:gd name="connsiteX44" fmla="*/ 350139 w 609600"/>
              <a:gd name="connsiteY44" fmla="*/ 369094 h 597693"/>
              <a:gd name="connsiteX45" fmla="*/ 344043 w 609600"/>
              <a:gd name="connsiteY45" fmla="*/ 391763 h 597693"/>
              <a:gd name="connsiteX46" fmla="*/ 331661 w 609600"/>
              <a:gd name="connsiteY46" fmla="*/ 384620 h 597693"/>
              <a:gd name="connsiteX47" fmla="*/ 335756 w 609600"/>
              <a:gd name="connsiteY47" fmla="*/ 369189 h 597693"/>
              <a:gd name="connsiteX48" fmla="*/ 304800 w 609600"/>
              <a:gd name="connsiteY48" fmla="*/ 338233 h 597693"/>
              <a:gd name="connsiteX49" fmla="*/ 273844 w 609600"/>
              <a:gd name="connsiteY49" fmla="*/ 369189 h 597693"/>
              <a:gd name="connsiteX50" fmla="*/ 277940 w 609600"/>
              <a:gd name="connsiteY50" fmla="*/ 384620 h 597693"/>
              <a:gd name="connsiteX51" fmla="*/ 265557 w 609600"/>
              <a:gd name="connsiteY51" fmla="*/ 391763 h 597693"/>
              <a:gd name="connsiteX52" fmla="*/ 259461 w 609600"/>
              <a:gd name="connsiteY52" fmla="*/ 369094 h 597693"/>
              <a:gd name="connsiteX53" fmla="*/ 304705 w 609600"/>
              <a:gd name="connsiteY53" fmla="*/ 323850 h 597693"/>
              <a:gd name="connsiteX54" fmla="*/ 349949 w 609600"/>
              <a:gd name="connsiteY54" fmla="*/ 369094 h 597693"/>
              <a:gd name="connsiteX55" fmla="*/ 197739 w 609600"/>
              <a:gd name="connsiteY55" fmla="*/ 369094 h 597693"/>
              <a:gd name="connsiteX56" fmla="*/ 191643 w 609600"/>
              <a:gd name="connsiteY56" fmla="*/ 391763 h 597693"/>
              <a:gd name="connsiteX57" fmla="*/ 179261 w 609600"/>
              <a:gd name="connsiteY57" fmla="*/ 384620 h 597693"/>
              <a:gd name="connsiteX58" fmla="*/ 183356 w 609600"/>
              <a:gd name="connsiteY58" fmla="*/ 369189 h 597693"/>
              <a:gd name="connsiteX59" fmla="*/ 152400 w 609600"/>
              <a:gd name="connsiteY59" fmla="*/ 338233 h 597693"/>
              <a:gd name="connsiteX60" fmla="*/ 121444 w 609600"/>
              <a:gd name="connsiteY60" fmla="*/ 369189 h 597693"/>
              <a:gd name="connsiteX61" fmla="*/ 125540 w 609600"/>
              <a:gd name="connsiteY61" fmla="*/ 384620 h 597693"/>
              <a:gd name="connsiteX62" fmla="*/ 113157 w 609600"/>
              <a:gd name="connsiteY62" fmla="*/ 391763 h 597693"/>
              <a:gd name="connsiteX63" fmla="*/ 107061 w 609600"/>
              <a:gd name="connsiteY63" fmla="*/ 369094 h 597693"/>
              <a:gd name="connsiteX64" fmla="*/ 152305 w 609600"/>
              <a:gd name="connsiteY64" fmla="*/ 323850 h 597693"/>
              <a:gd name="connsiteX65" fmla="*/ 197549 w 609600"/>
              <a:gd name="connsiteY65" fmla="*/ 369094 h 597693"/>
              <a:gd name="connsiteX66" fmla="*/ 431101 w 609600"/>
              <a:gd name="connsiteY66" fmla="*/ 597694 h 597693"/>
              <a:gd name="connsiteX67" fmla="*/ 431101 w 609600"/>
              <a:gd name="connsiteY67" fmla="*/ 553784 h 597693"/>
              <a:gd name="connsiteX68" fmla="*/ 406813 w 609600"/>
              <a:gd name="connsiteY68" fmla="*/ 528638 h 597693"/>
              <a:gd name="connsiteX69" fmla="*/ 355283 w 609600"/>
              <a:gd name="connsiteY69" fmla="*/ 528638 h 597693"/>
              <a:gd name="connsiteX70" fmla="*/ 330994 w 609600"/>
              <a:gd name="connsiteY70" fmla="*/ 553784 h 597693"/>
              <a:gd name="connsiteX71" fmla="*/ 330994 w 609600"/>
              <a:gd name="connsiteY71" fmla="*/ 597694 h 597693"/>
              <a:gd name="connsiteX72" fmla="*/ 316706 w 609600"/>
              <a:gd name="connsiteY72" fmla="*/ 597694 h 597693"/>
              <a:gd name="connsiteX73" fmla="*/ 316706 w 609600"/>
              <a:gd name="connsiteY73" fmla="*/ 553784 h 597693"/>
              <a:gd name="connsiteX74" fmla="*/ 355283 w 609600"/>
              <a:gd name="connsiteY74" fmla="*/ 514350 h 597693"/>
              <a:gd name="connsiteX75" fmla="*/ 406813 w 609600"/>
              <a:gd name="connsiteY75" fmla="*/ 514350 h 597693"/>
              <a:gd name="connsiteX76" fmla="*/ 445389 w 609600"/>
              <a:gd name="connsiteY76" fmla="*/ 553784 h 597693"/>
              <a:gd name="connsiteX77" fmla="*/ 445389 w 609600"/>
              <a:gd name="connsiteY77" fmla="*/ 597694 h 597693"/>
              <a:gd name="connsiteX78" fmla="*/ 431101 w 609600"/>
              <a:gd name="connsiteY78" fmla="*/ 597694 h 597693"/>
              <a:gd name="connsiteX79" fmla="*/ 183452 w 609600"/>
              <a:gd name="connsiteY79" fmla="*/ 445294 h 597693"/>
              <a:gd name="connsiteX80" fmla="*/ 228695 w 609600"/>
              <a:gd name="connsiteY80" fmla="*/ 490538 h 597693"/>
              <a:gd name="connsiteX81" fmla="*/ 273939 w 609600"/>
              <a:gd name="connsiteY81" fmla="*/ 445294 h 597693"/>
              <a:gd name="connsiteX82" fmla="*/ 228695 w 609600"/>
              <a:gd name="connsiteY82" fmla="*/ 400050 h 597693"/>
              <a:gd name="connsiteX83" fmla="*/ 183452 w 609600"/>
              <a:gd name="connsiteY83" fmla="*/ 445294 h 597693"/>
              <a:gd name="connsiteX84" fmla="*/ 259651 w 609600"/>
              <a:gd name="connsiteY84" fmla="*/ 445294 h 597693"/>
              <a:gd name="connsiteX85" fmla="*/ 228695 w 609600"/>
              <a:gd name="connsiteY85" fmla="*/ 476250 h 597693"/>
              <a:gd name="connsiteX86" fmla="*/ 197739 w 609600"/>
              <a:gd name="connsiteY86" fmla="*/ 445294 h 597693"/>
              <a:gd name="connsiteX87" fmla="*/ 228695 w 609600"/>
              <a:gd name="connsiteY87" fmla="*/ 414338 h 597693"/>
              <a:gd name="connsiteX88" fmla="*/ 259651 w 609600"/>
              <a:gd name="connsiteY88" fmla="*/ 445294 h 597693"/>
              <a:gd name="connsiteX89" fmla="*/ 278701 w 609600"/>
              <a:gd name="connsiteY89" fmla="*/ 597694 h 597693"/>
              <a:gd name="connsiteX90" fmla="*/ 278701 w 609600"/>
              <a:gd name="connsiteY90" fmla="*/ 553784 h 597693"/>
              <a:gd name="connsiteX91" fmla="*/ 254413 w 609600"/>
              <a:gd name="connsiteY91" fmla="*/ 528638 h 597693"/>
              <a:gd name="connsiteX92" fmla="*/ 202883 w 609600"/>
              <a:gd name="connsiteY92" fmla="*/ 528638 h 597693"/>
              <a:gd name="connsiteX93" fmla="*/ 178594 w 609600"/>
              <a:gd name="connsiteY93" fmla="*/ 553784 h 597693"/>
              <a:gd name="connsiteX94" fmla="*/ 178594 w 609600"/>
              <a:gd name="connsiteY94" fmla="*/ 597694 h 597693"/>
              <a:gd name="connsiteX95" fmla="*/ 164306 w 609600"/>
              <a:gd name="connsiteY95" fmla="*/ 597694 h 597693"/>
              <a:gd name="connsiteX96" fmla="*/ 164306 w 609600"/>
              <a:gd name="connsiteY96" fmla="*/ 553784 h 597693"/>
              <a:gd name="connsiteX97" fmla="*/ 202883 w 609600"/>
              <a:gd name="connsiteY97" fmla="*/ 514350 h 597693"/>
              <a:gd name="connsiteX98" fmla="*/ 254413 w 609600"/>
              <a:gd name="connsiteY98" fmla="*/ 514350 h 597693"/>
              <a:gd name="connsiteX99" fmla="*/ 292989 w 609600"/>
              <a:gd name="connsiteY99" fmla="*/ 553784 h 597693"/>
              <a:gd name="connsiteX100" fmla="*/ 292989 w 609600"/>
              <a:gd name="connsiteY100" fmla="*/ 597694 h 597693"/>
              <a:gd name="connsiteX101" fmla="*/ 278701 w 609600"/>
              <a:gd name="connsiteY101" fmla="*/ 597694 h 597693"/>
              <a:gd name="connsiteX102" fmla="*/ 31052 w 609600"/>
              <a:gd name="connsiteY102" fmla="*/ 445294 h 597693"/>
              <a:gd name="connsiteX103" fmla="*/ 76295 w 609600"/>
              <a:gd name="connsiteY103" fmla="*/ 490538 h 597693"/>
              <a:gd name="connsiteX104" fmla="*/ 121539 w 609600"/>
              <a:gd name="connsiteY104" fmla="*/ 445294 h 597693"/>
              <a:gd name="connsiteX105" fmla="*/ 76295 w 609600"/>
              <a:gd name="connsiteY105" fmla="*/ 400050 h 597693"/>
              <a:gd name="connsiteX106" fmla="*/ 31052 w 609600"/>
              <a:gd name="connsiteY106" fmla="*/ 445294 h 597693"/>
              <a:gd name="connsiteX107" fmla="*/ 107252 w 609600"/>
              <a:gd name="connsiteY107" fmla="*/ 445294 h 597693"/>
              <a:gd name="connsiteX108" fmla="*/ 76295 w 609600"/>
              <a:gd name="connsiteY108" fmla="*/ 476250 h 597693"/>
              <a:gd name="connsiteX109" fmla="*/ 45339 w 609600"/>
              <a:gd name="connsiteY109" fmla="*/ 445294 h 597693"/>
              <a:gd name="connsiteX110" fmla="*/ 76295 w 609600"/>
              <a:gd name="connsiteY110" fmla="*/ 414338 h 597693"/>
              <a:gd name="connsiteX111" fmla="*/ 107252 w 609600"/>
              <a:gd name="connsiteY111" fmla="*/ 445294 h 597693"/>
              <a:gd name="connsiteX112" fmla="*/ 50578 w 609600"/>
              <a:gd name="connsiteY112" fmla="*/ 514350 h 597693"/>
              <a:gd name="connsiteX113" fmla="*/ 102108 w 609600"/>
              <a:gd name="connsiteY113" fmla="*/ 514350 h 597693"/>
              <a:gd name="connsiteX114" fmla="*/ 140684 w 609600"/>
              <a:gd name="connsiteY114" fmla="*/ 553784 h 597693"/>
              <a:gd name="connsiteX115" fmla="*/ 140684 w 609600"/>
              <a:gd name="connsiteY115" fmla="*/ 597694 h 597693"/>
              <a:gd name="connsiteX116" fmla="*/ 126397 w 609600"/>
              <a:gd name="connsiteY116" fmla="*/ 597694 h 597693"/>
              <a:gd name="connsiteX117" fmla="*/ 126397 w 609600"/>
              <a:gd name="connsiteY117" fmla="*/ 553784 h 597693"/>
              <a:gd name="connsiteX118" fmla="*/ 102108 w 609600"/>
              <a:gd name="connsiteY118" fmla="*/ 528638 h 597693"/>
              <a:gd name="connsiteX119" fmla="*/ 50578 w 609600"/>
              <a:gd name="connsiteY119" fmla="*/ 528638 h 597693"/>
              <a:gd name="connsiteX120" fmla="*/ 26289 w 609600"/>
              <a:gd name="connsiteY120" fmla="*/ 553784 h 597693"/>
              <a:gd name="connsiteX121" fmla="*/ 26289 w 609600"/>
              <a:gd name="connsiteY121" fmla="*/ 597694 h 597693"/>
              <a:gd name="connsiteX122" fmla="*/ 12002 w 609600"/>
              <a:gd name="connsiteY122" fmla="*/ 597694 h 597693"/>
              <a:gd name="connsiteX123" fmla="*/ 12002 w 609600"/>
              <a:gd name="connsiteY123" fmla="*/ 553784 h 597693"/>
              <a:gd name="connsiteX124" fmla="*/ 50578 w 609600"/>
              <a:gd name="connsiteY124" fmla="*/ 514350 h 597693"/>
              <a:gd name="connsiteX125" fmla="*/ 388144 w 609600"/>
              <a:gd name="connsiteY125" fmla="*/ 166688 h 597693"/>
              <a:gd name="connsiteX126" fmla="*/ 400050 w 609600"/>
              <a:gd name="connsiteY126" fmla="*/ 166688 h 597693"/>
              <a:gd name="connsiteX127" fmla="*/ 400050 w 609600"/>
              <a:gd name="connsiteY127" fmla="*/ 152400 h 597693"/>
              <a:gd name="connsiteX128" fmla="*/ 369094 w 609600"/>
              <a:gd name="connsiteY128" fmla="*/ 152400 h 597693"/>
              <a:gd name="connsiteX129" fmla="*/ 369094 w 609600"/>
              <a:gd name="connsiteY129" fmla="*/ 130969 h 597693"/>
              <a:gd name="connsiteX130" fmla="*/ 333375 w 609600"/>
              <a:gd name="connsiteY130" fmla="*/ 95250 h 597693"/>
              <a:gd name="connsiteX131" fmla="*/ 276225 w 609600"/>
              <a:gd name="connsiteY131" fmla="*/ 95250 h 597693"/>
              <a:gd name="connsiteX132" fmla="*/ 240506 w 609600"/>
              <a:gd name="connsiteY132" fmla="*/ 130969 h 597693"/>
              <a:gd name="connsiteX133" fmla="*/ 240506 w 609600"/>
              <a:gd name="connsiteY133" fmla="*/ 152400 h 597693"/>
              <a:gd name="connsiteX134" fmla="*/ 209550 w 609600"/>
              <a:gd name="connsiteY134" fmla="*/ 152400 h 597693"/>
              <a:gd name="connsiteX135" fmla="*/ 209550 w 609600"/>
              <a:gd name="connsiteY135" fmla="*/ 166688 h 597693"/>
              <a:gd name="connsiteX136" fmla="*/ 221456 w 609600"/>
              <a:gd name="connsiteY136" fmla="*/ 166688 h 597693"/>
              <a:gd name="connsiteX137" fmla="*/ 221456 w 609600"/>
              <a:gd name="connsiteY137" fmla="*/ 266700 h 597693"/>
              <a:gd name="connsiteX138" fmla="*/ 0 w 609600"/>
              <a:gd name="connsiteY138" fmla="*/ 266700 h 597693"/>
              <a:gd name="connsiteX139" fmla="*/ 0 w 609600"/>
              <a:gd name="connsiteY139" fmla="*/ 280988 h 597693"/>
              <a:gd name="connsiteX140" fmla="*/ 609600 w 609600"/>
              <a:gd name="connsiteY140" fmla="*/ 280988 h 597693"/>
              <a:gd name="connsiteX141" fmla="*/ 609600 w 609600"/>
              <a:gd name="connsiteY141" fmla="*/ 266700 h 597693"/>
              <a:gd name="connsiteX142" fmla="*/ 388144 w 609600"/>
              <a:gd name="connsiteY142" fmla="*/ 266700 h 597693"/>
              <a:gd name="connsiteX143" fmla="*/ 388144 w 609600"/>
              <a:gd name="connsiteY143" fmla="*/ 166688 h 597693"/>
              <a:gd name="connsiteX144" fmla="*/ 254794 w 609600"/>
              <a:gd name="connsiteY144" fmla="*/ 130969 h 597693"/>
              <a:gd name="connsiteX145" fmla="*/ 276225 w 609600"/>
              <a:gd name="connsiteY145" fmla="*/ 109538 h 597693"/>
              <a:gd name="connsiteX146" fmla="*/ 333375 w 609600"/>
              <a:gd name="connsiteY146" fmla="*/ 109538 h 597693"/>
              <a:gd name="connsiteX147" fmla="*/ 354806 w 609600"/>
              <a:gd name="connsiteY147" fmla="*/ 130969 h 597693"/>
              <a:gd name="connsiteX148" fmla="*/ 354806 w 609600"/>
              <a:gd name="connsiteY148" fmla="*/ 152400 h 597693"/>
              <a:gd name="connsiteX149" fmla="*/ 254794 w 609600"/>
              <a:gd name="connsiteY149" fmla="*/ 152400 h 597693"/>
              <a:gd name="connsiteX150" fmla="*/ 254794 w 609600"/>
              <a:gd name="connsiteY150" fmla="*/ 130969 h 597693"/>
              <a:gd name="connsiteX151" fmla="*/ 373856 w 609600"/>
              <a:gd name="connsiteY151" fmla="*/ 266700 h 597693"/>
              <a:gd name="connsiteX152" fmla="*/ 235744 w 609600"/>
              <a:gd name="connsiteY152" fmla="*/ 266700 h 597693"/>
              <a:gd name="connsiteX153" fmla="*/ 235744 w 609600"/>
              <a:gd name="connsiteY153" fmla="*/ 166688 h 597693"/>
              <a:gd name="connsiteX154" fmla="*/ 373856 w 609600"/>
              <a:gd name="connsiteY154" fmla="*/ 166688 h 597693"/>
              <a:gd name="connsiteX155" fmla="*/ 373856 w 609600"/>
              <a:gd name="connsiteY155" fmla="*/ 266700 h 597693"/>
              <a:gd name="connsiteX156" fmla="*/ 269081 w 609600"/>
              <a:gd name="connsiteY156" fmla="*/ 35719 h 597693"/>
              <a:gd name="connsiteX157" fmla="*/ 304800 w 609600"/>
              <a:gd name="connsiteY157" fmla="*/ 71438 h 597693"/>
              <a:gd name="connsiteX158" fmla="*/ 340519 w 609600"/>
              <a:gd name="connsiteY158" fmla="*/ 35719 h 597693"/>
              <a:gd name="connsiteX159" fmla="*/ 304800 w 609600"/>
              <a:gd name="connsiteY159" fmla="*/ 0 h 597693"/>
              <a:gd name="connsiteX160" fmla="*/ 269081 w 609600"/>
              <a:gd name="connsiteY160" fmla="*/ 35719 h 597693"/>
              <a:gd name="connsiteX161" fmla="*/ 326231 w 609600"/>
              <a:gd name="connsiteY161" fmla="*/ 35719 h 597693"/>
              <a:gd name="connsiteX162" fmla="*/ 304800 w 609600"/>
              <a:gd name="connsiteY162" fmla="*/ 57150 h 597693"/>
              <a:gd name="connsiteX163" fmla="*/ 283369 w 609600"/>
              <a:gd name="connsiteY163" fmla="*/ 35719 h 597693"/>
              <a:gd name="connsiteX164" fmla="*/ 304800 w 609600"/>
              <a:gd name="connsiteY164" fmla="*/ 14288 h 597693"/>
              <a:gd name="connsiteX165" fmla="*/ 326231 w 609600"/>
              <a:gd name="connsiteY165" fmla="*/ 35719 h 59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609600" h="597693">
                <a:moveTo>
                  <a:pt x="533495" y="400050"/>
                </a:moveTo>
                <a:cubicBezTo>
                  <a:pt x="508540" y="400050"/>
                  <a:pt x="488251" y="420338"/>
                  <a:pt x="488251" y="445294"/>
                </a:cubicBezTo>
                <a:cubicBezTo>
                  <a:pt x="488251" y="470249"/>
                  <a:pt x="508540" y="490538"/>
                  <a:pt x="533495" y="490538"/>
                </a:cubicBezTo>
                <a:cubicBezTo>
                  <a:pt x="558451" y="490538"/>
                  <a:pt x="578739" y="470249"/>
                  <a:pt x="578739" y="445294"/>
                </a:cubicBezTo>
                <a:cubicBezTo>
                  <a:pt x="578739" y="420338"/>
                  <a:pt x="558451" y="400050"/>
                  <a:pt x="533495" y="400050"/>
                </a:cubicBezTo>
                <a:close/>
                <a:moveTo>
                  <a:pt x="533495" y="476250"/>
                </a:moveTo>
                <a:cubicBezTo>
                  <a:pt x="516446" y="476250"/>
                  <a:pt x="502539" y="462344"/>
                  <a:pt x="502539" y="445294"/>
                </a:cubicBezTo>
                <a:cubicBezTo>
                  <a:pt x="502539" y="428244"/>
                  <a:pt x="516446" y="414338"/>
                  <a:pt x="533495" y="414338"/>
                </a:cubicBezTo>
                <a:cubicBezTo>
                  <a:pt x="550545" y="414338"/>
                  <a:pt x="564452" y="428244"/>
                  <a:pt x="564452" y="445294"/>
                </a:cubicBezTo>
                <a:cubicBezTo>
                  <a:pt x="564452" y="462344"/>
                  <a:pt x="550545" y="476250"/>
                  <a:pt x="533495" y="476250"/>
                </a:cubicBezTo>
                <a:close/>
                <a:moveTo>
                  <a:pt x="583502" y="597694"/>
                </a:moveTo>
                <a:lnTo>
                  <a:pt x="583502" y="553784"/>
                </a:lnTo>
                <a:cubicBezTo>
                  <a:pt x="583502" y="539972"/>
                  <a:pt x="572643" y="528638"/>
                  <a:pt x="559213" y="528638"/>
                </a:cubicBezTo>
                <a:lnTo>
                  <a:pt x="507683" y="528638"/>
                </a:lnTo>
                <a:cubicBezTo>
                  <a:pt x="494252" y="528638"/>
                  <a:pt x="483394" y="539877"/>
                  <a:pt x="483394" y="553784"/>
                </a:cubicBezTo>
                <a:lnTo>
                  <a:pt x="483394" y="597694"/>
                </a:lnTo>
                <a:lnTo>
                  <a:pt x="469106" y="597694"/>
                </a:lnTo>
                <a:lnTo>
                  <a:pt x="469106" y="553784"/>
                </a:lnTo>
                <a:cubicBezTo>
                  <a:pt x="469106" y="532067"/>
                  <a:pt x="486442" y="514350"/>
                  <a:pt x="507683" y="514350"/>
                </a:cubicBezTo>
                <a:lnTo>
                  <a:pt x="559213" y="514350"/>
                </a:lnTo>
                <a:cubicBezTo>
                  <a:pt x="580454" y="514350"/>
                  <a:pt x="597789" y="531971"/>
                  <a:pt x="597789" y="553784"/>
                </a:cubicBezTo>
                <a:lnTo>
                  <a:pt x="597789" y="597694"/>
                </a:lnTo>
                <a:lnTo>
                  <a:pt x="583502" y="597694"/>
                </a:lnTo>
                <a:close/>
                <a:moveTo>
                  <a:pt x="335851" y="445294"/>
                </a:moveTo>
                <a:cubicBezTo>
                  <a:pt x="335851" y="470249"/>
                  <a:pt x="356140" y="490538"/>
                  <a:pt x="381095" y="490538"/>
                </a:cubicBezTo>
                <a:cubicBezTo>
                  <a:pt x="406051" y="490538"/>
                  <a:pt x="426339" y="470249"/>
                  <a:pt x="426339" y="445294"/>
                </a:cubicBezTo>
                <a:cubicBezTo>
                  <a:pt x="426339" y="420338"/>
                  <a:pt x="406051" y="400050"/>
                  <a:pt x="381095" y="400050"/>
                </a:cubicBezTo>
                <a:cubicBezTo>
                  <a:pt x="356140" y="400050"/>
                  <a:pt x="335851" y="420338"/>
                  <a:pt x="335851" y="445294"/>
                </a:cubicBezTo>
                <a:close/>
                <a:moveTo>
                  <a:pt x="412051" y="445294"/>
                </a:moveTo>
                <a:cubicBezTo>
                  <a:pt x="412051" y="462344"/>
                  <a:pt x="398145" y="476250"/>
                  <a:pt x="381095" y="476250"/>
                </a:cubicBezTo>
                <a:cubicBezTo>
                  <a:pt x="364046" y="476250"/>
                  <a:pt x="350139" y="462344"/>
                  <a:pt x="350139" y="445294"/>
                </a:cubicBezTo>
                <a:cubicBezTo>
                  <a:pt x="350139" y="428244"/>
                  <a:pt x="364046" y="414338"/>
                  <a:pt x="381095" y="414338"/>
                </a:cubicBezTo>
                <a:cubicBezTo>
                  <a:pt x="398145" y="414338"/>
                  <a:pt x="412051" y="428244"/>
                  <a:pt x="412051" y="445294"/>
                </a:cubicBezTo>
                <a:close/>
                <a:moveTo>
                  <a:pt x="502539" y="369094"/>
                </a:moveTo>
                <a:cubicBezTo>
                  <a:pt x="502539" y="377095"/>
                  <a:pt x="500444" y="384905"/>
                  <a:pt x="496443" y="391763"/>
                </a:cubicBezTo>
                <a:lnTo>
                  <a:pt x="484061" y="384620"/>
                </a:lnTo>
                <a:cubicBezTo>
                  <a:pt x="486728" y="379952"/>
                  <a:pt x="488156" y="374618"/>
                  <a:pt x="488156" y="369189"/>
                </a:cubicBezTo>
                <a:cubicBezTo>
                  <a:pt x="488156" y="352139"/>
                  <a:pt x="474250" y="338233"/>
                  <a:pt x="457200" y="338233"/>
                </a:cubicBezTo>
                <a:cubicBezTo>
                  <a:pt x="440150" y="338233"/>
                  <a:pt x="426244" y="352139"/>
                  <a:pt x="426244" y="369189"/>
                </a:cubicBezTo>
                <a:cubicBezTo>
                  <a:pt x="426244" y="374618"/>
                  <a:pt x="427673" y="379952"/>
                  <a:pt x="430340" y="384620"/>
                </a:cubicBezTo>
                <a:lnTo>
                  <a:pt x="417957" y="391763"/>
                </a:lnTo>
                <a:cubicBezTo>
                  <a:pt x="413957" y="384905"/>
                  <a:pt x="411861" y="377095"/>
                  <a:pt x="411861" y="369094"/>
                </a:cubicBezTo>
                <a:cubicBezTo>
                  <a:pt x="411861" y="344138"/>
                  <a:pt x="432149" y="323850"/>
                  <a:pt x="457105" y="323850"/>
                </a:cubicBezTo>
                <a:cubicBezTo>
                  <a:pt x="482060" y="323850"/>
                  <a:pt x="502349" y="344138"/>
                  <a:pt x="502349" y="369094"/>
                </a:cubicBezTo>
                <a:close/>
                <a:moveTo>
                  <a:pt x="350139" y="369094"/>
                </a:moveTo>
                <a:cubicBezTo>
                  <a:pt x="350139" y="377095"/>
                  <a:pt x="348044" y="384905"/>
                  <a:pt x="344043" y="391763"/>
                </a:cubicBezTo>
                <a:lnTo>
                  <a:pt x="331661" y="384620"/>
                </a:lnTo>
                <a:cubicBezTo>
                  <a:pt x="334328" y="379952"/>
                  <a:pt x="335756" y="374618"/>
                  <a:pt x="335756" y="369189"/>
                </a:cubicBezTo>
                <a:cubicBezTo>
                  <a:pt x="335756" y="352139"/>
                  <a:pt x="321850" y="338233"/>
                  <a:pt x="304800" y="338233"/>
                </a:cubicBezTo>
                <a:cubicBezTo>
                  <a:pt x="287750" y="338233"/>
                  <a:pt x="273844" y="352139"/>
                  <a:pt x="273844" y="369189"/>
                </a:cubicBezTo>
                <a:cubicBezTo>
                  <a:pt x="273844" y="374618"/>
                  <a:pt x="275273" y="379952"/>
                  <a:pt x="277940" y="384620"/>
                </a:cubicBezTo>
                <a:lnTo>
                  <a:pt x="265557" y="391763"/>
                </a:lnTo>
                <a:cubicBezTo>
                  <a:pt x="261556" y="384905"/>
                  <a:pt x="259461" y="377095"/>
                  <a:pt x="259461" y="369094"/>
                </a:cubicBezTo>
                <a:cubicBezTo>
                  <a:pt x="259461" y="344138"/>
                  <a:pt x="279749" y="323850"/>
                  <a:pt x="304705" y="323850"/>
                </a:cubicBezTo>
                <a:cubicBezTo>
                  <a:pt x="329660" y="323850"/>
                  <a:pt x="349949" y="344138"/>
                  <a:pt x="349949" y="369094"/>
                </a:cubicBezTo>
                <a:close/>
                <a:moveTo>
                  <a:pt x="197739" y="369094"/>
                </a:moveTo>
                <a:cubicBezTo>
                  <a:pt x="197739" y="377095"/>
                  <a:pt x="195644" y="384905"/>
                  <a:pt x="191643" y="391763"/>
                </a:cubicBezTo>
                <a:lnTo>
                  <a:pt x="179261" y="384620"/>
                </a:lnTo>
                <a:cubicBezTo>
                  <a:pt x="181928" y="379952"/>
                  <a:pt x="183356" y="374618"/>
                  <a:pt x="183356" y="369189"/>
                </a:cubicBezTo>
                <a:cubicBezTo>
                  <a:pt x="183356" y="352139"/>
                  <a:pt x="169450" y="338233"/>
                  <a:pt x="152400" y="338233"/>
                </a:cubicBezTo>
                <a:cubicBezTo>
                  <a:pt x="135350" y="338233"/>
                  <a:pt x="121444" y="352139"/>
                  <a:pt x="121444" y="369189"/>
                </a:cubicBezTo>
                <a:cubicBezTo>
                  <a:pt x="121444" y="374618"/>
                  <a:pt x="122873" y="379952"/>
                  <a:pt x="125540" y="384620"/>
                </a:cubicBezTo>
                <a:lnTo>
                  <a:pt x="113157" y="391763"/>
                </a:lnTo>
                <a:cubicBezTo>
                  <a:pt x="109156" y="384905"/>
                  <a:pt x="107061" y="377095"/>
                  <a:pt x="107061" y="369094"/>
                </a:cubicBezTo>
                <a:cubicBezTo>
                  <a:pt x="107061" y="344138"/>
                  <a:pt x="127349" y="323850"/>
                  <a:pt x="152305" y="323850"/>
                </a:cubicBezTo>
                <a:cubicBezTo>
                  <a:pt x="177260" y="323850"/>
                  <a:pt x="197549" y="344138"/>
                  <a:pt x="197549" y="369094"/>
                </a:cubicBezTo>
                <a:close/>
                <a:moveTo>
                  <a:pt x="431101" y="597694"/>
                </a:moveTo>
                <a:lnTo>
                  <a:pt x="431101" y="553784"/>
                </a:lnTo>
                <a:cubicBezTo>
                  <a:pt x="431101" y="539972"/>
                  <a:pt x="420243" y="528638"/>
                  <a:pt x="406813" y="528638"/>
                </a:cubicBezTo>
                <a:lnTo>
                  <a:pt x="355283" y="528638"/>
                </a:lnTo>
                <a:cubicBezTo>
                  <a:pt x="341852" y="528638"/>
                  <a:pt x="330994" y="539877"/>
                  <a:pt x="330994" y="553784"/>
                </a:cubicBezTo>
                <a:lnTo>
                  <a:pt x="330994" y="597694"/>
                </a:lnTo>
                <a:lnTo>
                  <a:pt x="316706" y="597694"/>
                </a:lnTo>
                <a:lnTo>
                  <a:pt x="316706" y="553784"/>
                </a:lnTo>
                <a:cubicBezTo>
                  <a:pt x="316706" y="532067"/>
                  <a:pt x="334042" y="514350"/>
                  <a:pt x="355283" y="514350"/>
                </a:cubicBezTo>
                <a:lnTo>
                  <a:pt x="406813" y="514350"/>
                </a:lnTo>
                <a:cubicBezTo>
                  <a:pt x="428054" y="514350"/>
                  <a:pt x="445389" y="531971"/>
                  <a:pt x="445389" y="553784"/>
                </a:cubicBezTo>
                <a:lnTo>
                  <a:pt x="445389" y="597694"/>
                </a:lnTo>
                <a:lnTo>
                  <a:pt x="431101" y="597694"/>
                </a:lnTo>
                <a:close/>
                <a:moveTo>
                  <a:pt x="183452" y="445294"/>
                </a:moveTo>
                <a:cubicBezTo>
                  <a:pt x="183452" y="470249"/>
                  <a:pt x="203740" y="490538"/>
                  <a:pt x="228695" y="490538"/>
                </a:cubicBezTo>
                <a:cubicBezTo>
                  <a:pt x="253651" y="490538"/>
                  <a:pt x="273939" y="470249"/>
                  <a:pt x="273939" y="445294"/>
                </a:cubicBezTo>
                <a:cubicBezTo>
                  <a:pt x="273939" y="420338"/>
                  <a:pt x="253651" y="400050"/>
                  <a:pt x="228695" y="400050"/>
                </a:cubicBezTo>
                <a:cubicBezTo>
                  <a:pt x="203740" y="400050"/>
                  <a:pt x="183452" y="420338"/>
                  <a:pt x="183452" y="445294"/>
                </a:cubicBezTo>
                <a:close/>
                <a:moveTo>
                  <a:pt x="259651" y="445294"/>
                </a:moveTo>
                <a:cubicBezTo>
                  <a:pt x="259651" y="462344"/>
                  <a:pt x="245745" y="476250"/>
                  <a:pt x="228695" y="476250"/>
                </a:cubicBezTo>
                <a:cubicBezTo>
                  <a:pt x="211646" y="476250"/>
                  <a:pt x="197739" y="462344"/>
                  <a:pt x="197739" y="445294"/>
                </a:cubicBezTo>
                <a:cubicBezTo>
                  <a:pt x="197739" y="428244"/>
                  <a:pt x="211646" y="414338"/>
                  <a:pt x="228695" y="414338"/>
                </a:cubicBezTo>
                <a:cubicBezTo>
                  <a:pt x="245745" y="414338"/>
                  <a:pt x="259651" y="428244"/>
                  <a:pt x="259651" y="445294"/>
                </a:cubicBezTo>
                <a:close/>
                <a:moveTo>
                  <a:pt x="278701" y="597694"/>
                </a:moveTo>
                <a:lnTo>
                  <a:pt x="278701" y="553784"/>
                </a:lnTo>
                <a:cubicBezTo>
                  <a:pt x="278701" y="539972"/>
                  <a:pt x="267843" y="528638"/>
                  <a:pt x="254413" y="528638"/>
                </a:cubicBezTo>
                <a:lnTo>
                  <a:pt x="202883" y="528638"/>
                </a:lnTo>
                <a:cubicBezTo>
                  <a:pt x="189452" y="528638"/>
                  <a:pt x="178594" y="539877"/>
                  <a:pt x="178594" y="553784"/>
                </a:cubicBezTo>
                <a:lnTo>
                  <a:pt x="178594" y="597694"/>
                </a:lnTo>
                <a:lnTo>
                  <a:pt x="164306" y="597694"/>
                </a:lnTo>
                <a:lnTo>
                  <a:pt x="164306" y="553784"/>
                </a:lnTo>
                <a:cubicBezTo>
                  <a:pt x="164306" y="532067"/>
                  <a:pt x="181642" y="514350"/>
                  <a:pt x="202883" y="514350"/>
                </a:cubicBezTo>
                <a:lnTo>
                  <a:pt x="254413" y="514350"/>
                </a:lnTo>
                <a:cubicBezTo>
                  <a:pt x="275654" y="514350"/>
                  <a:pt x="292989" y="531971"/>
                  <a:pt x="292989" y="553784"/>
                </a:cubicBezTo>
                <a:lnTo>
                  <a:pt x="292989" y="597694"/>
                </a:lnTo>
                <a:lnTo>
                  <a:pt x="278701" y="597694"/>
                </a:lnTo>
                <a:close/>
                <a:moveTo>
                  <a:pt x="31052" y="445294"/>
                </a:moveTo>
                <a:cubicBezTo>
                  <a:pt x="31052" y="470249"/>
                  <a:pt x="51340" y="490538"/>
                  <a:pt x="76295" y="490538"/>
                </a:cubicBezTo>
                <a:cubicBezTo>
                  <a:pt x="101251" y="490538"/>
                  <a:pt x="121539" y="470249"/>
                  <a:pt x="121539" y="445294"/>
                </a:cubicBezTo>
                <a:cubicBezTo>
                  <a:pt x="121539" y="420338"/>
                  <a:pt x="101251" y="400050"/>
                  <a:pt x="76295" y="400050"/>
                </a:cubicBezTo>
                <a:cubicBezTo>
                  <a:pt x="51340" y="400050"/>
                  <a:pt x="31052" y="420338"/>
                  <a:pt x="31052" y="445294"/>
                </a:cubicBezTo>
                <a:close/>
                <a:moveTo>
                  <a:pt x="107252" y="445294"/>
                </a:moveTo>
                <a:cubicBezTo>
                  <a:pt x="107252" y="462344"/>
                  <a:pt x="93345" y="476250"/>
                  <a:pt x="76295" y="476250"/>
                </a:cubicBezTo>
                <a:cubicBezTo>
                  <a:pt x="59246" y="476250"/>
                  <a:pt x="45339" y="462344"/>
                  <a:pt x="45339" y="445294"/>
                </a:cubicBezTo>
                <a:cubicBezTo>
                  <a:pt x="45339" y="428244"/>
                  <a:pt x="59246" y="414338"/>
                  <a:pt x="76295" y="414338"/>
                </a:cubicBezTo>
                <a:cubicBezTo>
                  <a:pt x="93345" y="414338"/>
                  <a:pt x="107252" y="428244"/>
                  <a:pt x="107252" y="445294"/>
                </a:cubicBezTo>
                <a:close/>
                <a:moveTo>
                  <a:pt x="50578" y="514350"/>
                </a:moveTo>
                <a:lnTo>
                  <a:pt x="102108" y="514350"/>
                </a:lnTo>
                <a:cubicBezTo>
                  <a:pt x="123349" y="514350"/>
                  <a:pt x="140684" y="531971"/>
                  <a:pt x="140684" y="553784"/>
                </a:cubicBezTo>
                <a:lnTo>
                  <a:pt x="140684" y="597694"/>
                </a:lnTo>
                <a:lnTo>
                  <a:pt x="126397" y="597694"/>
                </a:lnTo>
                <a:lnTo>
                  <a:pt x="126397" y="553784"/>
                </a:lnTo>
                <a:cubicBezTo>
                  <a:pt x="126397" y="539972"/>
                  <a:pt x="115538" y="528638"/>
                  <a:pt x="102108" y="528638"/>
                </a:cubicBezTo>
                <a:lnTo>
                  <a:pt x="50578" y="528638"/>
                </a:lnTo>
                <a:cubicBezTo>
                  <a:pt x="37147" y="528638"/>
                  <a:pt x="26289" y="539877"/>
                  <a:pt x="26289" y="553784"/>
                </a:cubicBezTo>
                <a:lnTo>
                  <a:pt x="26289" y="597694"/>
                </a:lnTo>
                <a:lnTo>
                  <a:pt x="12002" y="597694"/>
                </a:lnTo>
                <a:lnTo>
                  <a:pt x="12002" y="553784"/>
                </a:lnTo>
                <a:cubicBezTo>
                  <a:pt x="12002" y="532067"/>
                  <a:pt x="29337" y="514350"/>
                  <a:pt x="50578" y="514350"/>
                </a:cubicBezTo>
                <a:close/>
                <a:moveTo>
                  <a:pt x="388144" y="166688"/>
                </a:moveTo>
                <a:lnTo>
                  <a:pt x="400050" y="166688"/>
                </a:lnTo>
                <a:lnTo>
                  <a:pt x="400050" y="152400"/>
                </a:lnTo>
                <a:lnTo>
                  <a:pt x="369094" y="152400"/>
                </a:lnTo>
                <a:lnTo>
                  <a:pt x="369094" y="130969"/>
                </a:lnTo>
                <a:cubicBezTo>
                  <a:pt x="369094" y="111252"/>
                  <a:pt x="353092" y="95250"/>
                  <a:pt x="333375" y="95250"/>
                </a:cubicBezTo>
                <a:lnTo>
                  <a:pt x="276225" y="95250"/>
                </a:lnTo>
                <a:cubicBezTo>
                  <a:pt x="256508" y="95250"/>
                  <a:pt x="240506" y="111252"/>
                  <a:pt x="240506" y="130969"/>
                </a:cubicBezTo>
                <a:lnTo>
                  <a:pt x="240506" y="152400"/>
                </a:lnTo>
                <a:lnTo>
                  <a:pt x="209550" y="152400"/>
                </a:lnTo>
                <a:lnTo>
                  <a:pt x="209550" y="166688"/>
                </a:lnTo>
                <a:lnTo>
                  <a:pt x="221456" y="166688"/>
                </a:lnTo>
                <a:lnTo>
                  <a:pt x="221456" y="266700"/>
                </a:lnTo>
                <a:lnTo>
                  <a:pt x="0" y="266700"/>
                </a:lnTo>
                <a:lnTo>
                  <a:pt x="0" y="280988"/>
                </a:lnTo>
                <a:lnTo>
                  <a:pt x="609600" y="280988"/>
                </a:lnTo>
                <a:lnTo>
                  <a:pt x="609600" y="266700"/>
                </a:lnTo>
                <a:lnTo>
                  <a:pt x="388144" y="266700"/>
                </a:lnTo>
                <a:lnTo>
                  <a:pt x="388144" y="166688"/>
                </a:lnTo>
                <a:close/>
                <a:moveTo>
                  <a:pt x="254794" y="130969"/>
                </a:moveTo>
                <a:cubicBezTo>
                  <a:pt x="254794" y="119158"/>
                  <a:pt x="264414" y="109538"/>
                  <a:pt x="276225" y="109538"/>
                </a:cubicBezTo>
                <a:lnTo>
                  <a:pt x="333375" y="109538"/>
                </a:lnTo>
                <a:cubicBezTo>
                  <a:pt x="345186" y="109538"/>
                  <a:pt x="354806" y="119158"/>
                  <a:pt x="354806" y="130969"/>
                </a:cubicBezTo>
                <a:lnTo>
                  <a:pt x="354806" y="152400"/>
                </a:lnTo>
                <a:lnTo>
                  <a:pt x="254794" y="152400"/>
                </a:lnTo>
                <a:lnTo>
                  <a:pt x="254794" y="130969"/>
                </a:lnTo>
                <a:close/>
                <a:moveTo>
                  <a:pt x="373856" y="266700"/>
                </a:moveTo>
                <a:lnTo>
                  <a:pt x="235744" y="266700"/>
                </a:lnTo>
                <a:lnTo>
                  <a:pt x="235744" y="166688"/>
                </a:lnTo>
                <a:lnTo>
                  <a:pt x="373856" y="166688"/>
                </a:lnTo>
                <a:lnTo>
                  <a:pt x="373856" y="266700"/>
                </a:lnTo>
                <a:close/>
                <a:moveTo>
                  <a:pt x="269081" y="35719"/>
                </a:moveTo>
                <a:cubicBezTo>
                  <a:pt x="269081" y="55435"/>
                  <a:pt x="285083" y="71438"/>
                  <a:pt x="304800" y="71438"/>
                </a:cubicBezTo>
                <a:cubicBezTo>
                  <a:pt x="324517" y="71438"/>
                  <a:pt x="340519" y="55435"/>
                  <a:pt x="340519" y="35719"/>
                </a:cubicBezTo>
                <a:cubicBezTo>
                  <a:pt x="340519" y="16002"/>
                  <a:pt x="324517" y="0"/>
                  <a:pt x="304800" y="0"/>
                </a:cubicBezTo>
                <a:cubicBezTo>
                  <a:pt x="285083" y="0"/>
                  <a:pt x="269081" y="16002"/>
                  <a:pt x="269081" y="35719"/>
                </a:cubicBezTo>
                <a:close/>
                <a:moveTo>
                  <a:pt x="326231" y="35719"/>
                </a:moveTo>
                <a:cubicBezTo>
                  <a:pt x="326231" y="47530"/>
                  <a:pt x="316611" y="57150"/>
                  <a:pt x="304800" y="57150"/>
                </a:cubicBezTo>
                <a:cubicBezTo>
                  <a:pt x="292989" y="57150"/>
                  <a:pt x="283369" y="47530"/>
                  <a:pt x="283369" y="35719"/>
                </a:cubicBezTo>
                <a:cubicBezTo>
                  <a:pt x="283369" y="23908"/>
                  <a:pt x="292989" y="14288"/>
                  <a:pt x="304800" y="14288"/>
                </a:cubicBezTo>
                <a:cubicBezTo>
                  <a:pt x="316611" y="14288"/>
                  <a:pt x="326231" y="23908"/>
                  <a:pt x="326231" y="35719"/>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7" name="Freeform 116">
            <a:extLst>
              <a:ext uri="{FF2B5EF4-FFF2-40B4-BE49-F238E27FC236}">
                <a16:creationId xmlns:a16="http://schemas.microsoft.com/office/drawing/2014/main" id="{E7334452-8C85-8E6D-FB06-FAD7DCF013E1}"/>
              </a:ext>
            </a:extLst>
          </p:cNvPr>
          <p:cNvSpPr/>
          <p:nvPr/>
        </p:nvSpPr>
        <p:spPr>
          <a:xfrm>
            <a:off x="1039640" y="2943017"/>
            <a:ext cx="221337" cy="274950"/>
          </a:xfrm>
          <a:custGeom>
            <a:avLst/>
            <a:gdLst>
              <a:gd name="connsiteX0" fmla="*/ 464344 w 471487"/>
              <a:gd name="connsiteY0" fmla="*/ 0 h 585692"/>
              <a:gd name="connsiteX1" fmla="*/ 7144 w 471487"/>
              <a:gd name="connsiteY1" fmla="*/ 0 h 585692"/>
              <a:gd name="connsiteX2" fmla="*/ 0 w 471487"/>
              <a:gd name="connsiteY2" fmla="*/ 7144 h 585692"/>
              <a:gd name="connsiteX3" fmla="*/ 0 w 471487"/>
              <a:gd name="connsiteY3" fmla="*/ 405670 h 585692"/>
              <a:gd name="connsiteX4" fmla="*/ 73533 w 471487"/>
              <a:gd name="connsiteY4" fmla="*/ 517684 h 585692"/>
              <a:gd name="connsiteX5" fmla="*/ 232981 w 471487"/>
              <a:gd name="connsiteY5" fmla="*/ 585121 h 585692"/>
              <a:gd name="connsiteX6" fmla="*/ 235744 w 471487"/>
              <a:gd name="connsiteY6" fmla="*/ 585692 h 585692"/>
              <a:gd name="connsiteX7" fmla="*/ 238506 w 471487"/>
              <a:gd name="connsiteY7" fmla="*/ 585121 h 585692"/>
              <a:gd name="connsiteX8" fmla="*/ 397955 w 471487"/>
              <a:gd name="connsiteY8" fmla="*/ 517684 h 585692"/>
              <a:gd name="connsiteX9" fmla="*/ 471488 w 471487"/>
              <a:gd name="connsiteY9" fmla="*/ 405670 h 585692"/>
              <a:gd name="connsiteX10" fmla="*/ 471488 w 471487"/>
              <a:gd name="connsiteY10" fmla="*/ 7144 h 585692"/>
              <a:gd name="connsiteX11" fmla="*/ 464344 w 471487"/>
              <a:gd name="connsiteY11" fmla="*/ 0 h 585692"/>
              <a:gd name="connsiteX12" fmla="*/ 457200 w 471487"/>
              <a:gd name="connsiteY12" fmla="*/ 405670 h 585692"/>
              <a:gd name="connsiteX13" fmla="*/ 392430 w 471487"/>
              <a:gd name="connsiteY13" fmla="*/ 504539 h 585692"/>
              <a:gd name="connsiteX14" fmla="*/ 235744 w 471487"/>
              <a:gd name="connsiteY14" fmla="*/ 570833 h 585692"/>
              <a:gd name="connsiteX15" fmla="*/ 79057 w 471487"/>
              <a:gd name="connsiteY15" fmla="*/ 504539 h 585692"/>
              <a:gd name="connsiteX16" fmla="*/ 14288 w 471487"/>
              <a:gd name="connsiteY16" fmla="*/ 405670 h 585692"/>
              <a:gd name="connsiteX17" fmla="*/ 14288 w 471487"/>
              <a:gd name="connsiteY17" fmla="*/ 14288 h 585692"/>
              <a:gd name="connsiteX18" fmla="*/ 457200 w 471487"/>
              <a:gd name="connsiteY18" fmla="*/ 14288 h 585692"/>
              <a:gd name="connsiteX19" fmla="*/ 457200 w 471487"/>
              <a:gd name="connsiteY19" fmla="*/ 405670 h 58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1487" h="585692">
                <a:moveTo>
                  <a:pt x="464344" y="0"/>
                </a:moveTo>
                <a:lnTo>
                  <a:pt x="7144" y="0"/>
                </a:lnTo>
                <a:cubicBezTo>
                  <a:pt x="3239" y="0"/>
                  <a:pt x="0" y="3239"/>
                  <a:pt x="0" y="7144"/>
                </a:cubicBezTo>
                <a:lnTo>
                  <a:pt x="0" y="405670"/>
                </a:lnTo>
                <a:cubicBezTo>
                  <a:pt x="0" y="454819"/>
                  <a:pt x="28861" y="498824"/>
                  <a:pt x="73533" y="517684"/>
                </a:cubicBezTo>
                <a:lnTo>
                  <a:pt x="232981" y="585121"/>
                </a:lnTo>
                <a:cubicBezTo>
                  <a:pt x="233839" y="585502"/>
                  <a:pt x="234791" y="585692"/>
                  <a:pt x="235744" y="585692"/>
                </a:cubicBezTo>
                <a:cubicBezTo>
                  <a:pt x="236696" y="585692"/>
                  <a:pt x="237649" y="585502"/>
                  <a:pt x="238506" y="585121"/>
                </a:cubicBezTo>
                <a:lnTo>
                  <a:pt x="397955" y="517684"/>
                </a:lnTo>
                <a:cubicBezTo>
                  <a:pt x="442627" y="498824"/>
                  <a:pt x="471488" y="454819"/>
                  <a:pt x="471488" y="405670"/>
                </a:cubicBezTo>
                <a:lnTo>
                  <a:pt x="471488" y="7144"/>
                </a:lnTo>
                <a:cubicBezTo>
                  <a:pt x="471488" y="3239"/>
                  <a:pt x="468249" y="0"/>
                  <a:pt x="464344" y="0"/>
                </a:cubicBezTo>
                <a:close/>
                <a:moveTo>
                  <a:pt x="457200" y="405670"/>
                </a:moveTo>
                <a:cubicBezTo>
                  <a:pt x="457200" y="449104"/>
                  <a:pt x="431768" y="487871"/>
                  <a:pt x="392430" y="504539"/>
                </a:cubicBezTo>
                <a:lnTo>
                  <a:pt x="235744" y="570833"/>
                </a:lnTo>
                <a:lnTo>
                  <a:pt x="79057" y="504539"/>
                </a:lnTo>
                <a:cubicBezTo>
                  <a:pt x="39719" y="487871"/>
                  <a:pt x="14288" y="449104"/>
                  <a:pt x="14288" y="405670"/>
                </a:cubicBezTo>
                <a:lnTo>
                  <a:pt x="14288" y="14288"/>
                </a:lnTo>
                <a:lnTo>
                  <a:pt x="457200" y="14288"/>
                </a:lnTo>
                <a:lnTo>
                  <a:pt x="457200" y="405670"/>
                </a:ln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8" name="Freeform 117">
            <a:extLst>
              <a:ext uri="{FF2B5EF4-FFF2-40B4-BE49-F238E27FC236}">
                <a16:creationId xmlns:a16="http://schemas.microsoft.com/office/drawing/2014/main" id="{2C39CEA9-E14E-E089-9AA6-DD5A12E2FC2C}"/>
              </a:ext>
            </a:extLst>
          </p:cNvPr>
          <p:cNvSpPr/>
          <p:nvPr/>
        </p:nvSpPr>
        <p:spPr>
          <a:xfrm>
            <a:off x="1075412" y="2969846"/>
            <a:ext cx="149794" cy="176622"/>
          </a:xfrm>
          <a:custGeom>
            <a:avLst/>
            <a:gdLst>
              <a:gd name="connsiteX0" fmla="*/ 7144 w 319087"/>
              <a:gd name="connsiteY0" fmla="*/ 376238 h 376237"/>
              <a:gd name="connsiteX1" fmla="*/ 311944 w 319087"/>
              <a:gd name="connsiteY1" fmla="*/ 376238 h 376237"/>
              <a:gd name="connsiteX2" fmla="*/ 319088 w 319087"/>
              <a:gd name="connsiteY2" fmla="*/ 369094 h 376237"/>
              <a:gd name="connsiteX3" fmla="*/ 319088 w 319087"/>
              <a:gd name="connsiteY3" fmla="*/ 159544 h 376237"/>
              <a:gd name="connsiteX4" fmla="*/ 311944 w 319087"/>
              <a:gd name="connsiteY4" fmla="*/ 152400 h 376237"/>
              <a:gd name="connsiteX5" fmla="*/ 261938 w 319087"/>
              <a:gd name="connsiteY5" fmla="*/ 152400 h 376237"/>
              <a:gd name="connsiteX6" fmla="*/ 261938 w 319087"/>
              <a:gd name="connsiteY6" fmla="*/ 102394 h 376237"/>
              <a:gd name="connsiteX7" fmla="*/ 159544 w 319087"/>
              <a:gd name="connsiteY7" fmla="*/ 0 h 376237"/>
              <a:gd name="connsiteX8" fmla="*/ 57150 w 319087"/>
              <a:gd name="connsiteY8" fmla="*/ 102394 h 376237"/>
              <a:gd name="connsiteX9" fmla="*/ 57150 w 319087"/>
              <a:gd name="connsiteY9" fmla="*/ 152400 h 376237"/>
              <a:gd name="connsiteX10" fmla="*/ 7144 w 319087"/>
              <a:gd name="connsiteY10" fmla="*/ 152400 h 376237"/>
              <a:gd name="connsiteX11" fmla="*/ 0 w 319087"/>
              <a:gd name="connsiteY11" fmla="*/ 159544 h 376237"/>
              <a:gd name="connsiteX12" fmla="*/ 0 w 319087"/>
              <a:gd name="connsiteY12" fmla="*/ 369094 h 376237"/>
              <a:gd name="connsiteX13" fmla="*/ 7144 w 319087"/>
              <a:gd name="connsiteY13" fmla="*/ 376238 h 376237"/>
              <a:gd name="connsiteX14" fmla="*/ 71438 w 319087"/>
              <a:gd name="connsiteY14" fmla="*/ 102394 h 376237"/>
              <a:gd name="connsiteX15" fmla="*/ 159544 w 319087"/>
              <a:gd name="connsiteY15" fmla="*/ 14288 h 376237"/>
              <a:gd name="connsiteX16" fmla="*/ 247650 w 319087"/>
              <a:gd name="connsiteY16" fmla="*/ 102394 h 376237"/>
              <a:gd name="connsiteX17" fmla="*/ 247650 w 319087"/>
              <a:gd name="connsiteY17" fmla="*/ 152400 h 376237"/>
              <a:gd name="connsiteX18" fmla="*/ 71438 w 319087"/>
              <a:gd name="connsiteY18" fmla="*/ 152400 h 376237"/>
              <a:gd name="connsiteX19" fmla="*/ 71438 w 319087"/>
              <a:gd name="connsiteY19" fmla="*/ 102394 h 376237"/>
              <a:gd name="connsiteX20" fmla="*/ 14288 w 319087"/>
              <a:gd name="connsiteY20" fmla="*/ 166688 h 376237"/>
              <a:gd name="connsiteX21" fmla="*/ 304800 w 319087"/>
              <a:gd name="connsiteY21" fmla="*/ 166688 h 376237"/>
              <a:gd name="connsiteX22" fmla="*/ 304800 w 319087"/>
              <a:gd name="connsiteY22" fmla="*/ 361950 h 376237"/>
              <a:gd name="connsiteX23" fmla="*/ 14288 w 319087"/>
              <a:gd name="connsiteY23" fmla="*/ 361950 h 376237"/>
              <a:gd name="connsiteX24" fmla="*/ 14288 w 319087"/>
              <a:gd name="connsiteY24" fmla="*/ 166688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087" h="376237">
                <a:moveTo>
                  <a:pt x="7144" y="376238"/>
                </a:moveTo>
                <a:lnTo>
                  <a:pt x="311944" y="376238"/>
                </a:lnTo>
                <a:cubicBezTo>
                  <a:pt x="315849" y="376238"/>
                  <a:pt x="319088" y="372999"/>
                  <a:pt x="319088" y="369094"/>
                </a:cubicBezTo>
                <a:lnTo>
                  <a:pt x="319088" y="159544"/>
                </a:lnTo>
                <a:cubicBezTo>
                  <a:pt x="319088" y="155639"/>
                  <a:pt x="315849" y="152400"/>
                  <a:pt x="311944" y="152400"/>
                </a:cubicBezTo>
                <a:lnTo>
                  <a:pt x="261938" y="152400"/>
                </a:lnTo>
                <a:lnTo>
                  <a:pt x="261938" y="102394"/>
                </a:lnTo>
                <a:cubicBezTo>
                  <a:pt x="261938" y="45910"/>
                  <a:pt x="216027" y="0"/>
                  <a:pt x="159544" y="0"/>
                </a:cubicBezTo>
                <a:cubicBezTo>
                  <a:pt x="103061" y="0"/>
                  <a:pt x="57150" y="45910"/>
                  <a:pt x="57150" y="102394"/>
                </a:cubicBezTo>
                <a:lnTo>
                  <a:pt x="57150" y="152400"/>
                </a:lnTo>
                <a:lnTo>
                  <a:pt x="7144" y="152400"/>
                </a:lnTo>
                <a:cubicBezTo>
                  <a:pt x="3239" y="152400"/>
                  <a:pt x="0" y="155639"/>
                  <a:pt x="0" y="159544"/>
                </a:cubicBezTo>
                <a:lnTo>
                  <a:pt x="0" y="369094"/>
                </a:lnTo>
                <a:cubicBezTo>
                  <a:pt x="0" y="372999"/>
                  <a:pt x="3239" y="376238"/>
                  <a:pt x="7144" y="376238"/>
                </a:cubicBezTo>
                <a:close/>
                <a:moveTo>
                  <a:pt x="71438" y="102394"/>
                </a:moveTo>
                <a:cubicBezTo>
                  <a:pt x="71438" y="53816"/>
                  <a:pt x="110966" y="14288"/>
                  <a:pt x="159544" y="14288"/>
                </a:cubicBezTo>
                <a:cubicBezTo>
                  <a:pt x="208121" y="14288"/>
                  <a:pt x="247650" y="53816"/>
                  <a:pt x="247650" y="102394"/>
                </a:cubicBezTo>
                <a:lnTo>
                  <a:pt x="247650" y="152400"/>
                </a:lnTo>
                <a:lnTo>
                  <a:pt x="71438" y="152400"/>
                </a:lnTo>
                <a:lnTo>
                  <a:pt x="71438" y="102394"/>
                </a:lnTo>
                <a:close/>
                <a:moveTo>
                  <a:pt x="14288" y="166688"/>
                </a:moveTo>
                <a:lnTo>
                  <a:pt x="304800" y="166688"/>
                </a:lnTo>
                <a:lnTo>
                  <a:pt x="304800" y="361950"/>
                </a:lnTo>
                <a:lnTo>
                  <a:pt x="14288" y="361950"/>
                </a:lnTo>
                <a:lnTo>
                  <a:pt x="14288" y="166688"/>
                </a:ln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59" name="Freeform 119">
            <a:extLst>
              <a:ext uri="{FF2B5EF4-FFF2-40B4-BE49-F238E27FC236}">
                <a16:creationId xmlns:a16="http://schemas.microsoft.com/office/drawing/2014/main" id="{7706DF83-5E1F-6E8F-172E-93691A031218}"/>
              </a:ext>
            </a:extLst>
          </p:cNvPr>
          <p:cNvSpPr/>
          <p:nvPr/>
        </p:nvSpPr>
        <p:spPr>
          <a:xfrm>
            <a:off x="5110057" y="2943056"/>
            <a:ext cx="274839" cy="274872"/>
          </a:xfrm>
          <a:custGeom>
            <a:avLst/>
            <a:gdLst>
              <a:gd name="connsiteX0" fmla="*/ 499896 w 585454"/>
              <a:gd name="connsiteY0" fmla="*/ 85654 h 585525"/>
              <a:gd name="connsiteX1" fmla="*/ 85654 w 585454"/>
              <a:gd name="connsiteY1" fmla="*/ 85654 h 585525"/>
              <a:gd name="connsiteX2" fmla="*/ 85654 w 585454"/>
              <a:gd name="connsiteY2" fmla="*/ 499896 h 585525"/>
              <a:gd name="connsiteX3" fmla="*/ 292727 w 585454"/>
              <a:gd name="connsiteY3" fmla="*/ 585526 h 585525"/>
              <a:gd name="connsiteX4" fmla="*/ 499801 w 585454"/>
              <a:gd name="connsiteY4" fmla="*/ 499896 h 585525"/>
              <a:gd name="connsiteX5" fmla="*/ 499801 w 585454"/>
              <a:gd name="connsiteY5" fmla="*/ 85654 h 585525"/>
              <a:gd name="connsiteX6" fmla="*/ 489799 w 585454"/>
              <a:gd name="connsiteY6" fmla="*/ 489799 h 585525"/>
              <a:gd name="connsiteX7" fmla="*/ 95750 w 585454"/>
              <a:gd name="connsiteY7" fmla="*/ 489799 h 585525"/>
              <a:gd name="connsiteX8" fmla="*/ 14121 w 585454"/>
              <a:gd name="connsiteY8" fmla="*/ 292822 h 585525"/>
              <a:gd name="connsiteX9" fmla="*/ 95750 w 585454"/>
              <a:gd name="connsiteY9" fmla="*/ 95845 h 585525"/>
              <a:gd name="connsiteX10" fmla="*/ 489799 w 585454"/>
              <a:gd name="connsiteY10" fmla="*/ 95845 h 585525"/>
              <a:gd name="connsiteX11" fmla="*/ 571429 w 585454"/>
              <a:gd name="connsiteY11" fmla="*/ 292822 h 585525"/>
              <a:gd name="connsiteX12" fmla="*/ 489799 w 585454"/>
              <a:gd name="connsiteY12" fmla="*/ 489799 h 58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5454" h="585525">
                <a:moveTo>
                  <a:pt x="499896" y="85654"/>
                </a:moveTo>
                <a:cubicBezTo>
                  <a:pt x="385691" y="-28551"/>
                  <a:pt x="199858" y="-28551"/>
                  <a:pt x="85654" y="85654"/>
                </a:cubicBezTo>
                <a:cubicBezTo>
                  <a:pt x="-28551" y="199858"/>
                  <a:pt x="-28551" y="385691"/>
                  <a:pt x="85654" y="499896"/>
                </a:cubicBezTo>
                <a:cubicBezTo>
                  <a:pt x="142708" y="556951"/>
                  <a:pt x="217765" y="585526"/>
                  <a:pt x="292727" y="585526"/>
                </a:cubicBezTo>
                <a:cubicBezTo>
                  <a:pt x="367689" y="585526"/>
                  <a:pt x="442746" y="556951"/>
                  <a:pt x="499801" y="499896"/>
                </a:cubicBezTo>
                <a:cubicBezTo>
                  <a:pt x="614005" y="385691"/>
                  <a:pt x="614005" y="199858"/>
                  <a:pt x="499801" y="85654"/>
                </a:cubicBezTo>
                <a:close/>
                <a:moveTo>
                  <a:pt x="489799" y="489799"/>
                </a:moveTo>
                <a:cubicBezTo>
                  <a:pt x="381119" y="598384"/>
                  <a:pt x="204430" y="598384"/>
                  <a:pt x="95750" y="489799"/>
                </a:cubicBezTo>
                <a:cubicBezTo>
                  <a:pt x="43172" y="437221"/>
                  <a:pt x="14121" y="367213"/>
                  <a:pt x="14121" y="292822"/>
                </a:cubicBezTo>
                <a:cubicBezTo>
                  <a:pt x="14121" y="218432"/>
                  <a:pt x="43077" y="148423"/>
                  <a:pt x="95750" y="95845"/>
                </a:cubicBezTo>
                <a:cubicBezTo>
                  <a:pt x="204430" y="-12740"/>
                  <a:pt x="381119" y="-12740"/>
                  <a:pt x="489799" y="95845"/>
                </a:cubicBezTo>
                <a:cubicBezTo>
                  <a:pt x="542377" y="148423"/>
                  <a:pt x="571429" y="218432"/>
                  <a:pt x="571429" y="292822"/>
                </a:cubicBezTo>
                <a:cubicBezTo>
                  <a:pt x="571429" y="367213"/>
                  <a:pt x="542473" y="437221"/>
                  <a:pt x="489799" y="489799"/>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60" name="Freeform 120">
            <a:extLst>
              <a:ext uri="{FF2B5EF4-FFF2-40B4-BE49-F238E27FC236}">
                <a16:creationId xmlns:a16="http://schemas.microsoft.com/office/drawing/2014/main" id="{C5CFD807-8296-F7AF-0FC1-CC8FD014D779}"/>
              </a:ext>
            </a:extLst>
          </p:cNvPr>
          <p:cNvSpPr/>
          <p:nvPr/>
        </p:nvSpPr>
        <p:spPr>
          <a:xfrm>
            <a:off x="5127943" y="2960864"/>
            <a:ext cx="239156" cy="239179"/>
          </a:xfrm>
          <a:custGeom>
            <a:avLst/>
            <a:gdLst>
              <a:gd name="connsiteX0" fmla="*/ 434935 w 509444"/>
              <a:gd name="connsiteY0" fmla="*/ 74581 h 509492"/>
              <a:gd name="connsiteX1" fmla="*/ 254722 w 509444"/>
              <a:gd name="connsiteY1" fmla="*/ 0 h 509492"/>
              <a:gd name="connsiteX2" fmla="*/ 74509 w 509444"/>
              <a:gd name="connsiteY2" fmla="*/ 74581 h 509492"/>
              <a:gd name="connsiteX3" fmla="*/ 74509 w 509444"/>
              <a:gd name="connsiteY3" fmla="*/ 434912 h 509492"/>
              <a:gd name="connsiteX4" fmla="*/ 254722 w 509444"/>
              <a:gd name="connsiteY4" fmla="*/ 509492 h 509492"/>
              <a:gd name="connsiteX5" fmla="*/ 434935 w 509444"/>
              <a:gd name="connsiteY5" fmla="*/ 434912 h 509492"/>
              <a:gd name="connsiteX6" fmla="*/ 434935 w 509444"/>
              <a:gd name="connsiteY6" fmla="*/ 74581 h 509492"/>
              <a:gd name="connsiteX7" fmla="*/ 424839 w 509444"/>
              <a:gd name="connsiteY7" fmla="*/ 424815 h 509492"/>
              <a:gd name="connsiteX8" fmla="*/ 254818 w 509444"/>
              <a:gd name="connsiteY8" fmla="*/ 495300 h 509492"/>
              <a:gd name="connsiteX9" fmla="*/ 84796 w 509444"/>
              <a:gd name="connsiteY9" fmla="*/ 424815 h 509492"/>
              <a:gd name="connsiteX10" fmla="*/ 84796 w 509444"/>
              <a:gd name="connsiteY10" fmla="*/ 84677 h 509492"/>
              <a:gd name="connsiteX11" fmla="*/ 254818 w 509444"/>
              <a:gd name="connsiteY11" fmla="*/ 14192 h 509492"/>
              <a:gd name="connsiteX12" fmla="*/ 424839 w 509444"/>
              <a:gd name="connsiteY12" fmla="*/ 84677 h 509492"/>
              <a:gd name="connsiteX13" fmla="*/ 424839 w 509444"/>
              <a:gd name="connsiteY13" fmla="*/ 424815 h 509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9444" h="509492">
                <a:moveTo>
                  <a:pt x="434935" y="74581"/>
                </a:moveTo>
                <a:cubicBezTo>
                  <a:pt x="386834" y="26480"/>
                  <a:pt x="322826" y="0"/>
                  <a:pt x="254722" y="0"/>
                </a:cubicBezTo>
                <a:cubicBezTo>
                  <a:pt x="186619" y="0"/>
                  <a:pt x="122706" y="26480"/>
                  <a:pt x="74509" y="74581"/>
                </a:cubicBezTo>
                <a:cubicBezTo>
                  <a:pt x="-24836" y="173927"/>
                  <a:pt x="-24836" y="335566"/>
                  <a:pt x="74509" y="434912"/>
                </a:cubicBezTo>
                <a:cubicBezTo>
                  <a:pt x="122611" y="483013"/>
                  <a:pt x="186619" y="509492"/>
                  <a:pt x="254722" y="509492"/>
                </a:cubicBezTo>
                <a:cubicBezTo>
                  <a:pt x="322826" y="509492"/>
                  <a:pt x="386739" y="483013"/>
                  <a:pt x="434935" y="434912"/>
                </a:cubicBezTo>
                <a:cubicBezTo>
                  <a:pt x="534281" y="335566"/>
                  <a:pt x="534281" y="173927"/>
                  <a:pt x="434935" y="74581"/>
                </a:cubicBezTo>
                <a:close/>
                <a:moveTo>
                  <a:pt x="424839" y="424815"/>
                </a:moveTo>
                <a:cubicBezTo>
                  <a:pt x="379405" y="470249"/>
                  <a:pt x="319016" y="495300"/>
                  <a:pt x="254818" y="495300"/>
                </a:cubicBezTo>
                <a:cubicBezTo>
                  <a:pt x="190619" y="495300"/>
                  <a:pt x="130135" y="470249"/>
                  <a:pt x="84796" y="424815"/>
                </a:cubicBezTo>
                <a:cubicBezTo>
                  <a:pt x="-8930" y="330994"/>
                  <a:pt x="-8930" y="178499"/>
                  <a:pt x="84796" y="84677"/>
                </a:cubicBezTo>
                <a:cubicBezTo>
                  <a:pt x="130231" y="39243"/>
                  <a:pt x="190619" y="14192"/>
                  <a:pt x="254818" y="14192"/>
                </a:cubicBezTo>
                <a:cubicBezTo>
                  <a:pt x="319016" y="14192"/>
                  <a:pt x="379500" y="39243"/>
                  <a:pt x="424839" y="84677"/>
                </a:cubicBezTo>
                <a:cubicBezTo>
                  <a:pt x="518565" y="178499"/>
                  <a:pt x="518565" y="330994"/>
                  <a:pt x="424839" y="424815"/>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sp>
        <p:nvSpPr>
          <p:cNvPr id="61" name="Freeform 121">
            <a:extLst>
              <a:ext uri="{FF2B5EF4-FFF2-40B4-BE49-F238E27FC236}">
                <a16:creationId xmlns:a16="http://schemas.microsoft.com/office/drawing/2014/main" id="{389B6DD5-BC21-32BF-3E95-A56C494FF0F6}"/>
              </a:ext>
            </a:extLst>
          </p:cNvPr>
          <p:cNvSpPr/>
          <p:nvPr/>
        </p:nvSpPr>
        <p:spPr>
          <a:xfrm>
            <a:off x="5172624" y="3005579"/>
            <a:ext cx="139912" cy="127839"/>
          </a:xfrm>
          <a:custGeom>
            <a:avLst/>
            <a:gdLst>
              <a:gd name="connsiteX0" fmla="*/ 287846 w 298037"/>
              <a:gd name="connsiteY0" fmla="*/ 21145 h 272319"/>
              <a:gd name="connsiteX1" fmla="*/ 267081 w 298037"/>
              <a:gd name="connsiteY1" fmla="*/ 41910 h 272319"/>
              <a:gd name="connsiteX2" fmla="*/ 159544 w 298037"/>
              <a:gd name="connsiteY2" fmla="*/ 0 h 272319"/>
              <a:gd name="connsiteX3" fmla="*/ 46768 w 298037"/>
              <a:gd name="connsiteY3" fmla="*/ 46768 h 272319"/>
              <a:gd name="connsiteX4" fmla="*/ 0 w 298037"/>
              <a:gd name="connsiteY4" fmla="*/ 159544 h 272319"/>
              <a:gd name="connsiteX5" fmla="*/ 46768 w 298037"/>
              <a:gd name="connsiteY5" fmla="*/ 272320 h 272319"/>
              <a:gd name="connsiteX6" fmla="*/ 56864 w 298037"/>
              <a:gd name="connsiteY6" fmla="*/ 262223 h 272319"/>
              <a:gd name="connsiteX7" fmla="*/ 14288 w 298037"/>
              <a:gd name="connsiteY7" fmla="*/ 159544 h 272319"/>
              <a:gd name="connsiteX8" fmla="*/ 56864 w 298037"/>
              <a:gd name="connsiteY8" fmla="*/ 56864 h 272319"/>
              <a:gd name="connsiteX9" fmla="*/ 159544 w 298037"/>
              <a:gd name="connsiteY9" fmla="*/ 14288 h 272319"/>
              <a:gd name="connsiteX10" fmla="*/ 256985 w 298037"/>
              <a:gd name="connsiteY10" fmla="*/ 52006 h 272319"/>
              <a:gd name="connsiteX11" fmla="*/ 172212 w 298037"/>
              <a:gd name="connsiteY11" fmla="*/ 136684 h 272319"/>
              <a:gd name="connsiteX12" fmla="*/ 158591 w 298037"/>
              <a:gd name="connsiteY12" fmla="*/ 132778 h 272319"/>
              <a:gd name="connsiteX13" fmla="*/ 132112 w 298037"/>
              <a:gd name="connsiteY13" fmla="*/ 159258 h 272319"/>
              <a:gd name="connsiteX14" fmla="*/ 158591 w 298037"/>
              <a:gd name="connsiteY14" fmla="*/ 185738 h 272319"/>
              <a:gd name="connsiteX15" fmla="*/ 185071 w 298037"/>
              <a:gd name="connsiteY15" fmla="*/ 159258 h 272319"/>
              <a:gd name="connsiteX16" fmla="*/ 182023 w 298037"/>
              <a:gd name="connsiteY16" fmla="*/ 147066 h 272319"/>
              <a:gd name="connsiteX17" fmla="*/ 298037 w 298037"/>
              <a:gd name="connsiteY17" fmla="*/ 31147 h 272319"/>
              <a:gd name="connsiteX18" fmla="*/ 287941 w 298037"/>
              <a:gd name="connsiteY18" fmla="*/ 21050 h 272319"/>
              <a:gd name="connsiteX19" fmla="*/ 158591 w 298037"/>
              <a:gd name="connsiteY19" fmla="*/ 171450 h 272319"/>
              <a:gd name="connsiteX20" fmla="*/ 146399 w 298037"/>
              <a:gd name="connsiteY20" fmla="*/ 159258 h 272319"/>
              <a:gd name="connsiteX21" fmla="*/ 158591 w 298037"/>
              <a:gd name="connsiteY21" fmla="*/ 147066 h 272319"/>
              <a:gd name="connsiteX22" fmla="*/ 170783 w 298037"/>
              <a:gd name="connsiteY22" fmla="*/ 159258 h 272319"/>
              <a:gd name="connsiteX23" fmla="*/ 158591 w 298037"/>
              <a:gd name="connsiteY23" fmla="*/ 171450 h 27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8037" h="272319">
                <a:moveTo>
                  <a:pt x="287846" y="21145"/>
                </a:moveTo>
                <a:lnTo>
                  <a:pt x="267081" y="41910"/>
                </a:lnTo>
                <a:cubicBezTo>
                  <a:pt x="237649" y="14954"/>
                  <a:pt x="199739" y="0"/>
                  <a:pt x="159544" y="0"/>
                </a:cubicBezTo>
                <a:cubicBezTo>
                  <a:pt x="116967" y="0"/>
                  <a:pt x="76867" y="16573"/>
                  <a:pt x="46768" y="46768"/>
                </a:cubicBezTo>
                <a:cubicBezTo>
                  <a:pt x="16669" y="76867"/>
                  <a:pt x="0" y="116967"/>
                  <a:pt x="0" y="159544"/>
                </a:cubicBezTo>
                <a:cubicBezTo>
                  <a:pt x="0" y="202121"/>
                  <a:pt x="16573" y="242221"/>
                  <a:pt x="46768" y="272320"/>
                </a:cubicBezTo>
                <a:lnTo>
                  <a:pt x="56864" y="262223"/>
                </a:lnTo>
                <a:cubicBezTo>
                  <a:pt x="29432" y="234791"/>
                  <a:pt x="14288" y="198311"/>
                  <a:pt x="14288" y="159544"/>
                </a:cubicBezTo>
                <a:cubicBezTo>
                  <a:pt x="14288" y="120777"/>
                  <a:pt x="29432" y="84296"/>
                  <a:pt x="56864" y="56864"/>
                </a:cubicBezTo>
                <a:cubicBezTo>
                  <a:pt x="84296" y="29432"/>
                  <a:pt x="120777" y="14288"/>
                  <a:pt x="159544" y="14288"/>
                </a:cubicBezTo>
                <a:cubicBezTo>
                  <a:pt x="195929" y="14288"/>
                  <a:pt x="230219" y="27718"/>
                  <a:pt x="256985" y="52006"/>
                </a:cubicBezTo>
                <a:lnTo>
                  <a:pt x="172212" y="136684"/>
                </a:lnTo>
                <a:cubicBezTo>
                  <a:pt x="168212" y="134302"/>
                  <a:pt x="163640" y="132778"/>
                  <a:pt x="158591" y="132778"/>
                </a:cubicBezTo>
                <a:cubicBezTo>
                  <a:pt x="144018" y="132778"/>
                  <a:pt x="132112" y="144685"/>
                  <a:pt x="132112" y="159258"/>
                </a:cubicBezTo>
                <a:cubicBezTo>
                  <a:pt x="132112" y="173831"/>
                  <a:pt x="144018" y="185738"/>
                  <a:pt x="158591" y="185738"/>
                </a:cubicBezTo>
                <a:cubicBezTo>
                  <a:pt x="173165" y="185738"/>
                  <a:pt x="185071" y="173831"/>
                  <a:pt x="185071" y="159258"/>
                </a:cubicBezTo>
                <a:cubicBezTo>
                  <a:pt x="185071" y="154876"/>
                  <a:pt x="183928" y="150781"/>
                  <a:pt x="182023" y="147066"/>
                </a:cubicBezTo>
                <a:lnTo>
                  <a:pt x="298037" y="31147"/>
                </a:lnTo>
                <a:lnTo>
                  <a:pt x="287941" y="21050"/>
                </a:lnTo>
                <a:close/>
                <a:moveTo>
                  <a:pt x="158591" y="171450"/>
                </a:moveTo>
                <a:cubicBezTo>
                  <a:pt x="151924" y="171450"/>
                  <a:pt x="146399" y="166021"/>
                  <a:pt x="146399" y="159258"/>
                </a:cubicBezTo>
                <a:cubicBezTo>
                  <a:pt x="146399" y="152495"/>
                  <a:pt x="151828" y="147066"/>
                  <a:pt x="158591" y="147066"/>
                </a:cubicBezTo>
                <a:cubicBezTo>
                  <a:pt x="165354" y="147066"/>
                  <a:pt x="170783" y="152495"/>
                  <a:pt x="170783" y="159258"/>
                </a:cubicBezTo>
                <a:cubicBezTo>
                  <a:pt x="170783" y="166021"/>
                  <a:pt x="165354" y="171450"/>
                  <a:pt x="158591" y="171450"/>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Arial" charset="0"/>
              <a:ea typeface="ＭＳ Ｐゴシック" charset="0"/>
              <a:cs typeface="+mn-cs"/>
            </a:endParaRPr>
          </a:p>
        </p:txBody>
      </p:sp>
      <p:pic>
        <p:nvPicPr>
          <p:cNvPr id="62" name="Graphic 61">
            <a:extLst>
              <a:ext uri="{FF2B5EF4-FFF2-40B4-BE49-F238E27FC236}">
                <a16:creationId xmlns:a16="http://schemas.microsoft.com/office/drawing/2014/main" id="{E82784D0-C713-76C4-081D-0010FB56B06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61456" y="2943056"/>
            <a:ext cx="274872" cy="274872"/>
          </a:xfrm>
          <a:prstGeom prst="rect">
            <a:avLst/>
          </a:prstGeom>
        </p:spPr>
      </p:pic>
      <p:grpSp>
        <p:nvGrpSpPr>
          <p:cNvPr id="63" name="Group 62">
            <a:extLst>
              <a:ext uri="{FF2B5EF4-FFF2-40B4-BE49-F238E27FC236}">
                <a16:creationId xmlns:a16="http://schemas.microsoft.com/office/drawing/2014/main" id="{3D7D5E07-2AC2-DEED-EBB3-D6C7BD548FFD}"/>
              </a:ext>
            </a:extLst>
          </p:cNvPr>
          <p:cNvGrpSpPr/>
          <p:nvPr/>
        </p:nvGrpSpPr>
        <p:grpSpPr>
          <a:xfrm>
            <a:off x="6311900" y="1011605"/>
            <a:ext cx="2832100" cy="3454166"/>
            <a:chOff x="0" y="1011605"/>
            <a:chExt cx="2832100" cy="3454166"/>
          </a:xfrm>
        </p:grpSpPr>
        <p:pic>
          <p:nvPicPr>
            <p:cNvPr id="64" name="Picture 63" descr="A close up of a computer&#10;&#10;Description automatically generated">
              <a:extLst>
                <a:ext uri="{FF2B5EF4-FFF2-40B4-BE49-F238E27FC236}">
                  <a16:creationId xmlns:a16="http://schemas.microsoft.com/office/drawing/2014/main" id="{230F5319-B76B-7999-30FD-11A24FA09C89}"/>
                </a:ext>
              </a:extLst>
            </p:cNvPr>
            <p:cNvPicPr>
              <a:picLocks/>
            </p:cNvPicPr>
            <p:nvPr/>
          </p:nvPicPr>
          <p:blipFill rotWithShape="1">
            <a:blip r:embed="rId4"/>
            <a:srcRect l="22670" r="22670"/>
            <a:stretch/>
          </p:blipFill>
          <p:spPr>
            <a:xfrm>
              <a:off x="0" y="1011605"/>
              <a:ext cx="2832100" cy="3454166"/>
            </a:xfrm>
            <a:prstGeom prst="roundRect">
              <a:avLst>
                <a:gd name="adj" fmla="val 0"/>
              </a:avLst>
            </a:prstGeom>
          </p:spPr>
        </p:pic>
        <p:sp>
          <p:nvSpPr>
            <p:cNvPr id="65" name="Rectangle 64">
              <a:extLst>
                <a:ext uri="{FF2B5EF4-FFF2-40B4-BE49-F238E27FC236}">
                  <a16:creationId xmlns:a16="http://schemas.microsoft.com/office/drawing/2014/main" id="{28440761-9599-CA9D-DD03-51D1F8A6B862}"/>
                </a:ext>
              </a:extLst>
            </p:cNvPr>
            <p:cNvSpPr/>
            <p:nvPr/>
          </p:nvSpPr>
          <p:spPr>
            <a:xfrm>
              <a:off x="0" y="1011605"/>
              <a:ext cx="2832100" cy="3454166"/>
            </a:xfrm>
            <a:prstGeom prst="rect">
              <a:avLst/>
            </a:prstGeom>
            <a:solidFill>
              <a:schemeClr val="tx1">
                <a:alpha val="58000"/>
              </a:schemeClr>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66" name="TextBox 65">
              <a:extLst>
                <a:ext uri="{FF2B5EF4-FFF2-40B4-BE49-F238E27FC236}">
                  <a16:creationId xmlns:a16="http://schemas.microsoft.com/office/drawing/2014/main" id="{EBE97AAD-8630-B6A9-2EFF-E78F6574B64C}"/>
                </a:ext>
              </a:extLst>
            </p:cNvPr>
            <p:cNvSpPr txBox="1"/>
            <p:nvPr/>
          </p:nvSpPr>
          <p:spPr>
            <a:xfrm>
              <a:off x="202688" y="2309703"/>
              <a:ext cx="2144399" cy="646331"/>
            </a:xfrm>
            <a:prstGeom prst="rect">
              <a:avLst/>
            </a:prstGeom>
            <a:noFill/>
          </p:spPr>
          <p:txBody>
            <a:bodyPr wrap="square" lIns="0" tIns="0" rIns="0" b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Neue Haas Grotesk Text Pro" panose="020B0504020202020204" pitchFamily="34" charset="0"/>
                  <a:ea typeface="ＭＳ Ｐゴシック" charset="0"/>
                  <a:cs typeface="+mn-cs"/>
                </a:rPr>
                <a:t>Digital transformation global spending will reach</a:t>
              </a:r>
            </a:p>
          </p:txBody>
        </p:sp>
        <p:sp>
          <p:nvSpPr>
            <p:cNvPr id="67" name="TextBox 66">
              <a:extLst>
                <a:ext uri="{FF2B5EF4-FFF2-40B4-BE49-F238E27FC236}">
                  <a16:creationId xmlns:a16="http://schemas.microsoft.com/office/drawing/2014/main" id="{E8D1BA29-561F-1A87-BC62-7D9CB6A1BA8F}"/>
                </a:ext>
              </a:extLst>
            </p:cNvPr>
            <p:cNvSpPr txBox="1"/>
            <p:nvPr/>
          </p:nvSpPr>
          <p:spPr>
            <a:xfrm>
              <a:off x="202688" y="2939889"/>
              <a:ext cx="2144399" cy="707886"/>
            </a:xfrm>
            <a:prstGeom prst="rect">
              <a:avLst/>
            </a:prstGeom>
            <a:noFill/>
          </p:spPr>
          <p:txBody>
            <a:bodyPr wrap="square" lIns="0" tIns="0" rIns="0" b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4500" b="1" i="0" u="none" strike="noStrike" kern="1200" cap="none" spc="0" normalizeH="0" baseline="0" noProof="0">
                  <a:ln>
                    <a:noFill/>
                  </a:ln>
                  <a:solidFill>
                    <a:srgbClr val="FFFFFF"/>
                  </a:solidFill>
                  <a:effectLst/>
                  <a:uLnTx/>
                  <a:uFillTx/>
                  <a:latin typeface="Neue Haas Grotesk Text Pro" panose="020B0504020202020204" pitchFamily="34" charset="0"/>
                  <a:ea typeface="ＭＳ Ｐゴシック" charset="0"/>
                  <a:cs typeface="+mn-cs"/>
                </a:rPr>
                <a:t>$3T+</a:t>
              </a:r>
            </a:p>
          </p:txBody>
        </p:sp>
        <p:sp>
          <p:nvSpPr>
            <p:cNvPr id="68" name="TextBox 67">
              <a:extLst>
                <a:ext uri="{FF2B5EF4-FFF2-40B4-BE49-F238E27FC236}">
                  <a16:creationId xmlns:a16="http://schemas.microsoft.com/office/drawing/2014/main" id="{DBCF22E4-EA45-4F87-B618-5DD6FA09B7E8}"/>
                </a:ext>
              </a:extLst>
            </p:cNvPr>
            <p:cNvSpPr txBox="1"/>
            <p:nvPr/>
          </p:nvSpPr>
          <p:spPr>
            <a:xfrm>
              <a:off x="202688" y="3631630"/>
              <a:ext cx="2144399" cy="176395"/>
            </a:xfrm>
            <a:prstGeom prst="rect">
              <a:avLst/>
            </a:prstGeom>
            <a:noFill/>
          </p:spPr>
          <p:txBody>
            <a:bodyPr wrap="square" lIns="0" tIns="0" rIns="0" bIns="0" rtlCol="0">
              <a:spAutoFit/>
            </a:bodyPr>
            <a:lstStyle/>
            <a:p>
              <a:pPr marL="0" marR="0" lvl="0" indent="0" algn="l" defTabSz="457169" rtl="0" eaLnBrk="1" fontAlgn="base" latinLnBrk="0" hangingPunct="1">
                <a:lnSpc>
                  <a:spcPct val="125000"/>
                </a:lnSpc>
                <a:spcBef>
                  <a:spcPct val="0"/>
                </a:spcBef>
                <a:spcAft>
                  <a:spcPct val="0"/>
                </a:spcAft>
                <a:buClrTx/>
                <a:buSzTx/>
                <a:buFontTx/>
                <a:buNone/>
                <a:tabLst/>
                <a:defRPr/>
              </a:pPr>
              <a:r>
                <a:rPr kumimoji="0" lang="en-US" sz="1000" b="1" i="0" u="none" strike="noStrike" kern="1200" cap="none" spc="173" normalizeH="0" baseline="0" noProof="0">
                  <a:ln>
                    <a:noFill/>
                  </a:ln>
                  <a:solidFill>
                    <a:srgbClr val="FFFFFF"/>
                  </a:solidFill>
                  <a:effectLst/>
                  <a:uLnTx/>
                  <a:uFillTx/>
                  <a:latin typeface="Neue Haas Grotesk Text Pro" panose="020B0504020202020204" pitchFamily="34" charset="0"/>
                  <a:ea typeface="ＭＳ Ｐゴシック" charset="0"/>
                  <a:cs typeface="CiscoSansTT" panose="020B0503020201020303" pitchFamily="34" charset="0"/>
                </a:rPr>
                <a:t>BY 2026</a:t>
              </a:r>
            </a:p>
          </p:txBody>
        </p:sp>
        <p:pic>
          <p:nvPicPr>
            <p:cNvPr id="69" name="Graphic 68">
              <a:extLst>
                <a:ext uri="{FF2B5EF4-FFF2-40B4-BE49-F238E27FC236}">
                  <a16:creationId xmlns:a16="http://schemas.microsoft.com/office/drawing/2014/main" id="{87B5994E-54AE-9FF6-B3F2-98CF47D0F9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8406" y="1770337"/>
              <a:ext cx="457200" cy="457200"/>
            </a:xfrm>
            <a:prstGeom prst="rect">
              <a:avLst/>
            </a:prstGeom>
          </p:spPr>
        </p:pic>
        <p:cxnSp>
          <p:nvCxnSpPr>
            <p:cNvPr id="70" name="Straight Connector 69">
              <a:extLst>
                <a:ext uri="{FF2B5EF4-FFF2-40B4-BE49-F238E27FC236}">
                  <a16:creationId xmlns:a16="http://schemas.microsoft.com/office/drawing/2014/main" id="{B4EE1E96-37F4-C7A8-5677-9075AF05FA79}"/>
                </a:ext>
              </a:extLst>
            </p:cNvPr>
            <p:cNvCxnSpPr>
              <a:cxnSpLocks/>
            </p:cNvCxnSpPr>
            <p:nvPr/>
          </p:nvCxnSpPr>
          <p:spPr>
            <a:xfrm>
              <a:off x="202688" y="2268620"/>
              <a:ext cx="50863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81321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solidFill>
                  <a:schemeClr val="tx1"/>
                </a:solidFill>
                <a:latin typeface="Neue Haas Grotesk Text Pro" panose="020B0504020202020204" pitchFamily="34" charset="0"/>
              </a:rPr>
              <a:t>Hitachi </a:t>
            </a:r>
            <a:r>
              <a:rPr lang="en-US" err="1">
                <a:solidFill>
                  <a:schemeClr val="tx1"/>
                </a:solidFill>
                <a:latin typeface="Neue Haas Grotesk Text Pro" panose="020B0504020202020204" pitchFamily="34" charset="0"/>
              </a:rPr>
              <a:t>EverFlex</a:t>
            </a:r>
            <a:r>
              <a:rPr lang="en-US">
                <a:solidFill>
                  <a:schemeClr val="tx1"/>
                </a:solidFill>
                <a:latin typeface="Neue Haas Grotesk Text Pro" panose="020B0504020202020204" pitchFamily="34" charset="0"/>
              </a:rPr>
              <a:t> Competitive Advantages</a:t>
            </a:r>
            <a:endParaRPr lang="en-US" b="0">
              <a:latin typeface="Neue Haas Grotesk Text Pro" panose="020B0504020202020204" pitchFamily="34" charset="0"/>
            </a:endParaRPr>
          </a:p>
        </p:txBody>
      </p:sp>
      <p:graphicFrame>
        <p:nvGraphicFramePr>
          <p:cNvPr id="43" name="Table 42">
            <a:extLst>
              <a:ext uri="{FF2B5EF4-FFF2-40B4-BE49-F238E27FC236}">
                <a16:creationId xmlns:a16="http://schemas.microsoft.com/office/drawing/2014/main" id="{AD58BCE7-8A90-A0B6-92FB-68E6FA55177D}"/>
              </a:ext>
            </a:extLst>
          </p:cNvPr>
          <p:cNvGraphicFramePr>
            <a:graphicFrameLocks noGrp="1"/>
          </p:cNvGraphicFramePr>
          <p:nvPr/>
        </p:nvGraphicFramePr>
        <p:xfrm>
          <a:off x="190500" y="812801"/>
          <a:ext cx="8705850" cy="3957322"/>
        </p:xfrm>
        <a:graphic>
          <a:graphicData uri="http://schemas.openxmlformats.org/drawingml/2006/table">
            <a:tbl>
              <a:tblPr firstRow="1" bandRow="1">
                <a:tableStyleId>{7DF18680-E054-41AD-8BC1-D1AEF772440D}</a:tableStyleId>
              </a:tblPr>
              <a:tblGrid>
                <a:gridCol w="2746711">
                  <a:extLst>
                    <a:ext uri="{9D8B030D-6E8A-4147-A177-3AD203B41FA5}">
                      <a16:colId xmlns:a16="http://schemas.microsoft.com/office/drawing/2014/main" val="1057240275"/>
                    </a:ext>
                  </a:extLst>
                </a:gridCol>
                <a:gridCol w="2050154">
                  <a:extLst>
                    <a:ext uri="{9D8B030D-6E8A-4147-A177-3AD203B41FA5}">
                      <a16:colId xmlns:a16="http://schemas.microsoft.com/office/drawing/2014/main" val="351335253"/>
                    </a:ext>
                  </a:extLst>
                </a:gridCol>
                <a:gridCol w="1516499">
                  <a:extLst>
                    <a:ext uri="{9D8B030D-6E8A-4147-A177-3AD203B41FA5}">
                      <a16:colId xmlns:a16="http://schemas.microsoft.com/office/drawing/2014/main" val="3672519249"/>
                    </a:ext>
                  </a:extLst>
                </a:gridCol>
                <a:gridCol w="2392486">
                  <a:extLst>
                    <a:ext uri="{9D8B030D-6E8A-4147-A177-3AD203B41FA5}">
                      <a16:colId xmlns:a16="http://schemas.microsoft.com/office/drawing/2014/main" val="1139702334"/>
                    </a:ext>
                  </a:extLst>
                </a:gridCol>
              </a:tblGrid>
              <a:tr h="477908">
                <a:tc>
                  <a:txBody>
                    <a:bodyPr/>
                    <a:lstStyle/>
                    <a:p>
                      <a:pPr algn="ctr"/>
                      <a:r>
                        <a:rPr lang="en-US" sz="1200">
                          <a:latin typeface="Neue Haas Grotesk Text Pro" panose="020B0504020202020204" pitchFamily="34" charset="0"/>
                        </a:rPr>
                        <a:t>Featuring</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571B6"/>
                    </a:solidFill>
                  </a:tcPr>
                </a:tc>
                <a:tc>
                  <a:txBody>
                    <a:bodyPr/>
                    <a:lstStyle/>
                    <a:p>
                      <a:pPr algn="ctr"/>
                      <a:r>
                        <a:rPr lang="en-US" sz="1200">
                          <a:latin typeface="Neue Haas Grotesk Text Pro" panose="020B0504020202020204" pitchFamily="34" charset="0"/>
                        </a:rPr>
                        <a:t>EverFlex from Hitachi</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571B6"/>
                    </a:solidFill>
                  </a:tcPr>
                </a:tc>
                <a:tc>
                  <a:txBody>
                    <a:bodyPr/>
                    <a:lstStyle/>
                    <a:p>
                      <a:pPr algn="ctr"/>
                      <a:r>
                        <a:rPr lang="en-US" sz="1200">
                          <a:latin typeface="Neue Haas Grotesk Text Pro" panose="020B0504020202020204" pitchFamily="34" charset="0"/>
                        </a:rPr>
                        <a:t>HP GreenLak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571B6"/>
                    </a:solidFill>
                  </a:tcPr>
                </a:tc>
                <a:tc>
                  <a:txBody>
                    <a:bodyPr/>
                    <a:lstStyle/>
                    <a:p>
                      <a:pPr algn="ctr"/>
                      <a:r>
                        <a:rPr lang="en-US" sz="1200">
                          <a:latin typeface="Neue Haas Grotesk Text Pro" panose="020B0504020202020204" pitchFamily="34" charset="0"/>
                        </a:rPr>
                        <a:t>Dell APE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571B6"/>
                    </a:solidFill>
                  </a:tcPr>
                </a:tc>
                <a:extLst>
                  <a:ext uri="{0D108BD9-81ED-4DB2-BD59-A6C34878D82A}">
                    <a16:rowId xmlns:a16="http://schemas.microsoft.com/office/drawing/2014/main" val="1307078849"/>
                  </a:ext>
                </a:extLst>
              </a:tr>
              <a:tr h="4779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Neue Haas Grotesk Text Pro" panose="020B0504020202020204" pitchFamily="34" charset="0"/>
                        </a:rPr>
                        <a:t>Predictable Pay per use Pricing </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0">
                        <a:solidFill>
                          <a:srgbClr val="335589"/>
                        </a:solidFill>
                        <a:latin typeface="Neue Haas Grotesk Text Pro" panose="020B0504020202020204"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5143493"/>
                  </a:ext>
                </a:extLst>
              </a:tr>
              <a:tr h="477908">
                <a:tc>
                  <a:txBody>
                    <a:bodyPr/>
                    <a:lstStyle/>
                    <a:p>
                      <a:r>
                        <a:rPr lang="en-US" sz="1200" b="1">
                          <a:solidFill>
                            <a:schemeClr val="tx1"/>
                          </a:solidFill>
                          <a:latin typeface="Neue Haas Grotesk Text Pro" panose="020B0504020202020204" pitchFamily="34" charset="0"/>
                        </a:rPr>
                        <a:t>Headless Automation Platform</a:t>
                      </a:r>
                    </a:p>
                    <a:p>
                      <a:r>
                        <a:rPr lang="en-US" sz="800" b="1">
                          <a:solidFill>
                            <a:schemeClr val="tx1"/>
                          </a:solidFill>
                          <a:latin typeface="Neue Haas Grotesk Text Pro" panose="020B0504020202020204" pitchFamily="34" charset="0"/>
                        </a:rPr>
                        <a:t>Bi-Directional API Extensi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0">
                        <a:solidFill>
                          <a:srgbClr val="335589"/>
                        </a:solidFill>
                        <a:latin typeface="Neue Haas Grotesk Text Pro" panose="020B0504020202020204"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491099"/>
                  </a:ext>
                </a:extLst>
              </a:tr>
              <a:tr h="477908">
                <a:tc>
                  <a:txBody>
                    <a:bodyPr/>
                    <a:lstStyle/>
                    <a:p>
                      <a:r>
                        <a:rPr lang="en-US" sz="1200" b="1">
                          <a:solidFill>
                            <a:schemeClr val="tx1"/>
                          </a:solidFill>
                          <a:latin typeface="Neue Haas Grotesk Text Pro" panose="020B0504020202020204" pitchFamily="34" charset="0"/>
                        </a:rPr>
                        <a:t>Unified Self-service Portal</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0">
                        <a:solidFill>
                          <a:srgbClr val="335589"/>
                        </a:solidFill>
                        <a:latin typeface="Neue Haas Grotesk Text Pro" panose="020B0504020202020204"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75097642"/>
                  </a:ext>
                </a:extLst>
              </a:tr>
              <a:tr h="611966">
                <a:tc>
                  <a:txBody>
                    <a:bodyPr/>
                    <a:lstStyle/>
                    <a:p>
                      <a:r>
                        <a:rPr lang="en-US" sz="1200" b="1">
                          <a:solidFill>
                            <a:schemeClr val="tx1"/>
                          </a:solidFill>
                          <a:latin typeface="Neue Haas Grotesk Text Pro" panose="020B0504020202020204" pitchFamily="34" charset="0"/>
                        </a:rPr>
                        <a:t>Heterogenous Platform Integration </a:t>
                      </a:r>
                    </a:p>
                    <a:p>
                      <a:r>
                        <a:rPr lang="en-US" sz="900" b="1">
                          <a:solidFill>
                            <a:schemeClr val="tx1"/>
                          </a:solidFill>
                          <a:latin typeface="Neue Haas Grotesk Text Pro" panose="020B0504020202020204" pitchFamily="34" charset="0"/>
                        </a:rPr>
                        <a:t>Including IT and Business Process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20493307"/>
                  </a:ext>
                </a:extLst>
              </a:tr>
              <a:tr h="477908">
                <a:tc>
                  <a:txBody>
                    <a:bodyPr/>
                    <a:lstStyle/>
                    <a:p>
                      <a:r>
                        <a:rPr lang="en-US" sz="1200" b="1">
                          <a:solidFill>
                            <a:schemeClr val="tx1"/>
                          </a:solidFill>
                          <a:latin typeface="Neue Haas Grotesk Text Pro" panose="020B0504020202020204" pitchFamily="34" charset="0"/>
                        </a:rPr>
                        <a:t>Full Lifecycle Management </a:t>
                      </a:r>
                    </a:p>
                    <a:p>
                      <a:r>
                        <a:rPr lang="en-US" sz="800" b="1">
                          <a:solidFill>
                            <a:schemeClr val="tx1"/>
                          </a:solidFill>
                          <a:latin typeface="Neue Haas Grotesk Text Pro" panose="020B0504020202020204" pitchFamily="34" charset="0"/>
                        </a:rPr>
                        <a:t>Including 3rd party decommissioning</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0">
                        <a:solidFill>
                          <a:srgbClr val="335589"/>
                        </a:solidFill>
                        <a:latin typeface="Neue Haas Grotesk Text Pro" panose="020B0504020202020204"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noProof="0">
                        <a:solidFill>
                          <a:srgbClr val="335589"/>
                        </a:solidFill>
                        <a:latin typeface="Neue Haas Grotesk Text Pro" panose="020B0504020202020204"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3993267"/>
                  </a:ext>
                </a:extLst>
              </a:tr>
              <a:tr h="477908">
                <a:tc>
                  <a:txBody>
                    <a:bodyPr/>
                    <a:lstStyle/>
                    <a:p>
                      <a:r>
                        <a:rPr lang="en-US" sz="1200" b="1">
                          <a:solidFill>
                            <a:schemeClr val="tx1"/>
                          </a:solidFill>
                          <a:latin typeface="Neue Haas Grotesk Text Pro" panose="020B0504020202020204" pitchFamily="34" charset="0"/>
                        </a:rPr>
                        <a:t>Hybrid Cloud FinOps</a:t>
                      </a:r>
                    </a:p>
                    <a:p>
                      <a:r>
                        <a:rPr lang="en-US" sz="800" b="1">
                          <a:solidFill>
                            <a:schemeClr val="tx1"/>
                          </a:solidFill>
                          <a:latin typeface="Neue Haas Grotesk Text Pro" panose="020B0504020202020204" pitchFamily="34" charset="0"/>
                        </a:rPr>
                        <a:t>Across On-Prem and Cloud environmen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28224703"/>
                  </a:ext>
                </a:extLst>
              </a:tr>
              <a:tr h="477908">
                <a:tc>
                  <a:txBody>
                    <a:bodyPr/>
                    <a:lstStyle/>
                    <a:p>
                      <a:pPr marL="0" algn="l" defTabSz="914400" rtl="0" eaLnBrk="1" latinLnBrk="0" hangingPunct="1"/>
                      <a:r>
                        <a:rPr lang="en-US" sz="1200" b="1" kern="1200">
                          <a:solidFill>
                            <a:schemeClr val="tx1"/>
                          </a:solidFill>
                          <a:latin typeface="Neue Haas Grotesk Text Pro" panose="020B0504020202020204" pitchFamily="34" charset="0"/>
                        </a:rPr>
                        <a:t>Custom Platform Integrations </a:t>
                      </a:r>
                      <a:endParaRPr lang="en-US" sz="1200" b="1" kern="1200">
                        <a:solidFill>
                          <a:schemeClr val="tx1"/>
                        </a:solidFill>
                        <a:latin typeface="Neue Haas Grotesk Text Pro" panose="020B0504020202020204" pitchFamily="34" charset="0"/>
                        <a:ea typeface="+mn-ea"/>
                        <a:cs typeface="+mn-cs"/>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rgbClr val="83C3ED"/>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4375375"/>
                  </a:ext>
                </a:extLst>
              </a:tr>
            </a:tbl>
          </a:graphicData>
        </a:graphic>
      </p:graphicFrame>
      <p:pic>
        <p:nvPicPr>
          <p:cNvPr id="44" name="Graphic 43">
            <a:extLst>
              <a:ext uri="{FF2B5EF4-FFF2-40B4-BE49-F238E27FC236}">
                <a16:creationId xmlns:a16="http://schemas.microsoft.com/office/drawing/2014/main" id="{6A910EB3-6731-CFBD-7780-1F07561BBF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1424821"/>
            <a:ext cx="212505" cy="212505"/>
          </a:xfrm>
          <a:prstGeom prst="rect">
            <a:avLst/>
          </a:prstGeom>
        </p:spPr>
      </p:pic>
      <p:pic>
        <p:nvPicPr>
          <p:cNvPr id="45" name="Graphic 44">
            <a:extLst>
              <a:ext uri="{FF2B5EF4-FFF2-40B4-BE49-F238E27FC236}">
                <a16:creationId xmlns:a16="http://schemas.microsoft.com/office/drawing/2014/main" id="{32CD06DD-AE3D-7517-B1FD-B1CB8C004A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1899684"/>
            <a:ext cx="212505" cy="212505"/>
          </a:xfrm>
          <a:prstGeom prst="rect">
            <a:avLst/>
          </a:prstGeom>
        </p:spPr>
      </p:pic>
      <p:pic>
        <p:nvPicPr>
          <p:cNvPr id="46" name="Graphic 45">
            <a:extLst>
              <a:ext uri="{FF2B5EF4-FFF2-40B4-BE49-F238E27FC236}">
                <a16:creationId xmlns:a16="http://schemas.microsoft.com/office/drawing/2014/main" id="{DDCB38E8-70B2-F3D1-3716-61A7EDDF91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2385405"/>
            <a:ext cx="212505" cy="212505"/>
          </a:xfrm>
          <a:prstGeom prst="rect">
            <a:avLst/>
          </a:prstGeom>
        </p:spPr>
      </p:pic>
      <p:pic>
        <p:nvPicPr>
          <p:cNvPr id="47" name="Graphic 46">
            <a:extLst>
              <a:ext uri="{FF2B5EF4-FFF2-40B4-BE49-F238E27FC236}">
                <a16:creationId xmlns:a16="http://schemas.microsoft.com/office/drawing/2014/main" id="{E490E6BF-C285-FA00-EE94-0885047470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2925187"/>
            <a:ext cx="212505" cy="212505"/>
          </a:xfrm>
          <a:prstGeom prst="rect">
            <a:avLst/>
          </a:prstGeom>
        </p:spPr>
      </p:pic>
      <p:pic>
        <p:nvPicPr>
          <p:cNvPr id="48" name="Graphic 47">
            <a:extLst>
              <a:ext uri="{FF2B5EF4-FFF2-40B4-BE49-F238E27FC236}">
                <a16:creationId xmlns:a16="http://schemas.microsoft.com/office/drawing/2014/main" id="{FAC5FEDD-59C9-E6BD-874E-772B821A9F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3472178"/>
            <a:ext cx="212505" cy="212505"/>
          </a:xfrm>
          <a:prstGeom prst="rect">
            <a:avLst/>
          </a:prstGeom>
        </p:spPr>
      </p:pic>
      <p:pic>
        <p:nvPicPr>
          <p:cNvPr id="49" name="Graphic 48">
            <a:extLst>
              <a:ext uri="{FF2B5EF4-FFF2-40B4-BE49-F238E27FC236}">
                <a16:creationId xmlns:a16="http://schemas.microsoft.com/office/drawing/2014/main" id="{4AAC7DEA-6969-67E7-B5F8-C364CE0251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3946905"/>
            <a:ext cx="212505" cy="212505"/>
          </a:xfrm>
          <a:prstGeom prst="rect">
            <a:avLst/>
          </a:prstGeom>
        </p:spPr>
      </p:pic>
      <p:pic>
        <p:nvPicPr>
          <p:cNvPr id="50" name="Graphic 49">
            <a:extLst>
              <a:ext uri="{FF2B5EF4-FFF2-40B4-BE49-F238E27FC236}">
                <a16:creationId xmlns:a16="http://schemas.microsoft.com/office/drawing/2014/main" id="{FEACDDD8-1C73-9228-A71A-57E7BCD1F60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8910" y="4435076"/>
            <a:ext cx="212505" cy="212505"/>
          </a:xfrm>
          <a:prstGeom prst="rect">
            <a:avLst/>
          </a:prstGeom>
        </p:spPr>
      </p:pic>
      <p:pic>
        <p:nvPicPr>
          <p:cNvPr id="51" name="Graphic 50">
            <a:extLst>
              <a:ext uri="{FF2B5EF4-FFF2-40B4-BE49-F238E27FC236}">
                <a16:creationId xmlns:a16="http://schemas.microsoft.com/office/drawing/2014/main" id="{94904604-CC9F-6B1A-B02A-FD53ADCB71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7640" y="1424821"/>
            <a:ext cx="212505" cy="212505"/>
          </a:xfrm>
          <a:prstGeom prst="rect">
            <a:avLst/>
          </a:prstGeom>
        </p:spPr>
      </p:pic>
      <p:pic>
        <p:nvPicPr>
          <p:cNvPr id="52" name="Graphic 51">
            <a:extLst>
              <a:ext uri="{FF2B5EF4-FFF2-40B4-BE49-F238E27FC236}">
                <a16:creationId xmlns:a16="http://schemas.microsoft.com/office/drawing/2014/main" id="{566AA85A-4D08-4EED-DF7A-CCBECFEEAD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7640" y="2385405"/>
            <a:ext cx="212505" cy="212505"/>
          </a:xfrm>
          <a:prstGeom prst="rect">
            <a:avLst/>
          </a:prstGeom>
        </p:spPr>
      </p:pic>
      <p:pic>
        <p:nvPicPr>
          <p:cNvPr id="53" name="Graphic 52">
            <a:extLst>
              <a:ext uri="{FF2B5EF4-FFF2-40B4-BE49-F238E27FC236}">
                <a16:creationId xmlns:a16="http://schemas.microsoft.com/office/drawing/2014/main" id="{99F99FDA-FC64-1B52-640F-651BFDCE29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27640" y="3472178"/>
            <a:ext cx="212505" cy="212505"/>
          </a:xfrm>
          <a:prstGeom prst="rect">
            <a:avLst/>
          </a:prstGeom>
        </p:spPr>
      </p:pic>
      <p:pic>
        <p:nvPicPr>
          <p:cNvPr id="54" name="Graphic 53">
            <a:extLst>
              <a:ext uri="{FF2B5EF4-FFF2-40B4-BE49-F238E27FC236}">
                <a16:creationId xmlns:a16="http://schemas.microsoft.com/office/drawing/2014/main" id="{0AA88BFE-6EAC-32E9-2E23-79595BEBF7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93528" y="1424821"/>
            <a:ext cx="212505" cy="212505"/>
          </a:xfrm>
          <a:prstGeom prst="rect">
            <a:avLst/>
          </a:prstGeom>
        </p:spPr>
      </p:pic>
      <p:pic>
        <p:nvPicPr>
          <p:cNvPr id="55" name="Graphic 54">
            <a:extLst>
              <a:ext uri="{FF2B5EF4-FFF2-40B4-BE49-F238E27FC236}">
                <a16:creationId xmlns:a16="http://schemas.microsoft.com/office/drawing/2014/main" id="{B3718C5F-9621-1416-8366-5F07E87333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93528" y="3472178"/>
            <a:ext cx="212505" cy="212505"/>
          </a:xfrm>
          <a:prstGeom prst="rect">
            <a:avLst/>
          </a:prstGeom>
        </p:spPr>
      </p:pic>
      <p:grpSp>
        <p:nvGrpSpPr>
          <p:cNvPr id="56" name="Group 55">
            <a:extLst>
              <a:ext uri="{FF2B5EF4-FFF2-40B4-BE49-F238E27FC236}">
                <a16:creationId xmlns:a16="http://schemas.microsoft.com/office/drawing/2014/main" id="{820BF0AC-8A7E-0448-D303-967A42E341BC}"/>
              </a:ext>
            </a:extLst>
          </p:cNvPr>
          <p:cNvGrpSpPr/>
          <p:nvPr/>
        </p:nvGrpSpPr>
        <p:grpSpPr>
          <a:xfrm>
            <a:off x="5623184" y="1896325"/>
            <a:ext cx="221418" cy="219224"/>
            <a:chOff x="4357687" y="2357437"/>
            <a:chExt cx="428625" cy="428625"/>
          </a:xfrm>
        </p:grpSpPr>
        <p:sp>
          <p:nvSpPr>
            <p:cNvPr id="57" name="Freeform: Shape 56">
              <a:extLst>
                <a:ext uri="{FF2B5EF4-FFF2-40B4-BE49-F238E27FC236}">
                  <a16:creationId xmlns:a16="http://schemas.microsoft.com/office/drawing/2014/main" id="{673DD44A-45D8-9C89-3FC3-19D3A7DE1C24}"/>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58" name="Freeform: Shape 57">
              <a:extLst>
                <a:ext uri="{FF2B5EF4-FFF2-40B4-BE49-F238E27FC236}">
                  <a16:creationId xmlns:a16="http://schemas.microsoft.com/office/drawing/2014/main" id="{84F74CA7-BA51-7813-722A-D0962CE78FAB}"/>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59" name="Group 58">
            <a:extLst>
              <a:ext uri="{FF2B5EF4-FFF2-40B4-BE49-F238E27FC236}">
                <a16:creationId xmlns:a16="http://schemas.microsoft.com/office/drawing/2014/main" id="{37E1C0DA-82BA-7376-92C2-689C1A831C1C}"/>
              </a:ext>
            </a:extLst>
          </p:cNvPr>
          <p:cNvGrpSpPr/>
          <p:nvPr/>
        </p:nvGrpSpPr>
        <p:grpSpPr>
          <a:xfrm>
            <a:off x="5623184" y="2918468"/>
            <a:ext cx="221418" cy="219224"/>
            <a:chOff x="4357687" y="2357437"/>
            <a:chExt cx="428625" cy="428625"/>
          </a:xfrm>
        </p:grpSpPr>
        <p:sp>
          <p:nvSpPr>
            <p:cNvPr id="60" name="Freeform: Shape 59">
              <a:extLst>
                <a:ext uri="{FF2B5EF4-FFF2-40B4-BE49-F238E27FC236}">
                  <a16:creationId xmlns:a16="http://schemas.microsoft.com/office/drawing/2014/main" id="{A868648B-9739-643B-DB61-578FCA807179}"/>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61" name="Freeform: Shape 60">
              <a:extLst>
                <a:ext uri="{FF2B5EF4-FFF2-40B4-BE49-F238E27FC236}">
                  <a16:creationId xmlns:a16="http://schemas.microsoft.com/office/drawing/2014/main" id="{471B8807-1267-BAC7-95CE-BE8662356AF7}"/>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62" name="Group 61">
            <a:extLst>
              <a:ext uri="{FF2B5EF4-FFF2-40B4-BE49-F238E27FC236}">
                <a16:creationId xmlns:a16="http://schemas.microsoft.com/office/drawing/2014/main" id="{5E913DAB-E018-88F1-233F-A417045F62F6}"/>
              </a:ext>
            </a:extLst>
          </p:cNvPr>
          <p:cNvGrpSpPr/>
          <p:nvPr/>
        </p:nvGrpSpPr>
        <p:grpSpPr>
          <a:xfrm>
            <a:off x="5623184" y="3940186"/>
            <a:ext cx="221418" cy="219224"/>
            <a:chOff x="4357687" y="2357437"/>
            <a:chExt cx="428625" cy="428625"/>
          </a:xfrm>
        </p:grpSpPr>
        <p:sp>
          <p:nvSpPr>
            <p:cNvPr id="63" name="Freeform: Shape 62">
              <a:extLst>
                <a:ext uri="{FF2B5EF4-FFF2-40B4-BE49-F238E27FC236}">
                  <a16:creationId xmlns:a16="http://schemas.microsoft.com/office/drawing/2014/main" id="{B4F74547-609F-50A8-B8B0-D351C2B1DA70}"/>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64" name="Freeform: Shape 63">
              <a:extLst>
                <a:ext uri="{FF2B5EF4-FFF2-40B4-BE49-F238E27FC236}">
                  <a16:creationId xmlns:a16="http://schemas.microsoft.com/office/drawing/2014/main" id="{E96C55D7-DD34-A37B-6463-01F6EFA4EE41}"/>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65" name="Group 64">
            <a:extLst>
              <a:ext uri="{FF2B5EF4-FFF2-40B4-BE49-F238E27FC236}">
                <a16:creationId xmlns:a16="http://schemas.microsoft.com/office/drawing/2014/main" id="{236838EB-EF0D-24F1-9C83-079B09156C9B}"/>
              </a:ext>
            </a:extLst>
          </p:cNvPr>
          <p:cNvGrpSpPr/>
          <p:nvPr/>
        </p:nvGrpSpPr>
        <p:grpSpPr>
          <a:xfrm>
            <a:off x="5623184" y="4428357"/>
            <a:ext cx="221418" cy="219224"/>
            <a:chOff x="4357687" y="2357437"/>
            <a:chExt cx="428625" cy="428625"/>
          </a:xfrm>
        </p:grpSpPr>
        <p:sp>
          <p:nvSpPr>
            <p:cNvPr id="66" name="Freeform: Shape 65">
              <a:extLst>
                <a:ext uri="{FF2B5EF4-FFF2-40B4-BE49-F238E27FC236}">
                  <a16:creationId xmlns:a16="http://schemas.microsoft.com/office/drawing/2014/main" id="{0C3BDC63-A7CD-2A5B-1D8D-E9DADD97E6FC}"/>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67" name="Freeform: Shape 66">
              <a:extLst>
                <a:ext uri="{FF2B5EF4-FFF2-40B4-BE49-F238E27FC236}">
                  <a16:creationId xmlns:a16="http://schemas.microsoft.com/office/drawing/2014/main" id="{1D2DF715-76F6-6002-4726-B69429AA4C53}"/>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68" name="Group 67">
            <a:extLst>
              <a:ext uri="{FF2B5EF4-FFF2-40B4-BE49-F238E27FC236}">
                <a16:creationId xmlns:a16="http://schemas.microsoft.com/office/drawing/2014/main" id="{50E11C56-184E-8C0C-C062-0551B6A8E7C8}"/>
              </a:ext>
            </a:extLst>
          </p:cNvPr>
          <p:cNvGrpSpPr/>
          <p:nvPr/>
        </p:nvGrpSpPr>
        <p:grpSpPr>
          <a:xfrm>
            <a:off x="7593528" y="1896325"/>
            <a:ext cx="221418" cy="219224"/>
            <a:chOff x="4357687" y="2357437"/>
            <a:chExt cx="428625" cy="428625"/>
          </a:xfrm>
        </p:grpSpPr>
        <p:sp>
          <p:nvSpPr>
            <p:cNvPr id="69" name="Freeform: Shape 68">
              <a:extLst>
                <a:ext uri="{FF2B5EF4-FFF2-40B4-BE49-F238E27FC236}">
                  <a16:creationId xmlns:a16="http://schemas.microsoft.com/office/drawing/2014/main" id="{E67C07DA-EC07-0EA6-9738-7FCC8994C0E9}"/>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70" name="Freeform: Shape 69">
              <a:extLst>
                <a:ext uri="{FF2B5EF4-FFF2-40B4-BE49-F238E27FC236}">
                  <a16:creationId xmlns:a16="http://schemas.microsoft.com/office/drawing/2014/main" id="{81FA4FAE-2A2F-740E-A89D-7B26F3B80A58}"/>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71" name="Group 70">
            <a:extLst>
              <a:ext uri="{FF2B5EF4-FFF2-40B4-BE49-F238E27FC236}">
                <a16:creationId xmlns:a16="http://schemas.microsoft.com/office/drawing/2014/main" id="{01EC986B-34B6-9478-5230-CA9C01DC6851}"/>
              </a:ext>
            </a:extLst>
          </p:cNvPr>
          <p:cNvGrpSpPr/>
          <p:nvPr/>
        </p:nvGrpSpPr>
        <p:grpSpPr>
          <a:xfrm>
            <a:off x="7593528" y="2918468"/>
            <a:ext cx="221418" cy="219224"/>
            <a:chOff x="4357687" y="2357437"/>
            <a:chExt cx="428625" cy="428625"/>
          </a:xfrm>
        </p:grpSpPr>
        <p:sp>
          <p:nvSpPr>
            <p:cNvPr id="72" name="Freeform: Shape 71">
              <a:extLst>
                <a:ext uri="{FF2B5EF4-FFF2-40B4-BE49-F238E27FC236}">
                  <a16:creationId xmlns:a16="http://schemas.microsoft.com/office/drawing/2014/main" id="{6813C447-6D2B-9B15-8D3C-F076363EB0A8}"/>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73" name="Freeform: Shape 72">
              <a:extLst>
                <a:ext uri="{FF2B5EF4-FFF2-40B4-BE49-F238E27FC236}">
                  <a16:creationId xmlns:a16="http://schemas.microsoft.com/office/drawing/2014/main" id="{BC3ADB21-2AF8-B1F0-0698-CBA9B29C6805}"/>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74" name="Group 73">
            <a:extLst>
              <a:ext uri="{FF2B5EF4-FFF2-40B4-BE49-F238E27FC236}">
                <a16:creationId xmlns:a16="http://schemas.microsoft.com/office/drawing/2014/main" id="{71F1096D-2BF9-05A2-FAC9-8873257E274C}"/>
              </a:ext>
            </a:extLst>
          </p:cNvPr>
          <p:cNvGrpSpPr/>
          <p:nvPr/>
        </p:nvGrpSpPr>
        <p:grpSpPr>
          <a:xfrm>
            <a:off x="7593528" y="3940186"/>
            <a:ext cx="221418" cy="219224"/>
            <a:chOff x="4357687" y="2357437"/>
            <a:chExt cx="428625" cy="428625"/>
          </a:xfrm>
        </p:grpSpPr>
        <p:sp>
          <p:nvSpPr>
            <p:cNvPr id="75" name="Freeform: Shape 74">
              <a:extLst>
                <a:ext uri="{FF2B5EF4-FFF2-40B4-BE49-F238E27FC236}">
                  <a16:creationId xmlns:a16="http://schemas.microsoft.com/office/drawing/2014/main" id="{7CBBED61-F02C-216C-93AC-335BC56E75BD}"/>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76" name="Freeform: Shape 75">
              <a:extLst>
                <a:ext uri="{FF2B5EF4-FFF2-40B4-BE49-F238E27FC236}">
                  <a16:creationId xmlns:a16="http://schemas.microsoft.com/office/drawing/2014/main" id="{2F1BB62F-7081-C033-741A-53E487ABAC16}"/>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77" name="Group 76">
            <a:extLst>
              <a:ext uri="{FF2B5EF4-FFF2-40B4-BE49-F238E27FC236}">
                <a16:creationId xmlns:a16="http://schemas.microsoft.com/office/drawing/2014/main" id="{BC7E37DD-D7A1-84A5-231F-25E7FF42256D}"/>
              </a:ext>
            </a:extLst>
          </p:cNvPr>
          <p:cNvGrpSpPr/>
          <p:nvPr/>
        </p:nvGrpSpPr>
        <p:grpSpPr>
          <a:xfrm>
            <a:off x="7593528" y="4428357"/>
            <a:ext cx="221418" cy="219224"/>
            <a:chOff x="4357687" y="2357437"/>
            <a:chExt cx="428625" cy="428625"/>
          </a:xfrm>
        </p:grpSpPr>
        <p:sp>
          <p:nvSpPr>
            <p:cNvPr id="78" name="Freeform: Shape 77">
              <a:extLst>
                <a:ext uri="{FF2B5EF4-FFF2-40B4-BE49-F238E27FC236}">
                  <a16:creationId xmlns:a16="http://schemas.microsoft.com/office/drawing/2014/main" id="{C4439799-BD3A-DDB0-D41D-A06196FD7F1B}"/>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79" name="Freeform: Shape 78">
              <a:extLst>
                <a:ext uri="{FF2B5EF4-FFF2-40B4-BE49-F238E27FC236}">
                  <a16:creationId xmlns:a16="http://schemas.microsoft.com/office/drawing/2014/main" id="{EE8E2319-4820-45D5-CA10-D63FEA47079F}"/>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grpSp>
        <p:nvGrpSpPr>
          <p:cNvPr id="80" name="Group 79">
            <a:extLst>
              <a:ext uri="{FF2B5EF4-FFF2-40B4-BE49-F238E27FC236}">
                <a16:creationId xmlns:a16="http://schemas.microsoft.com/office/drawing/2014/main" id="{5542B585-35D5-F5EE-AAD9-712ABA19F675}"/>
              </a:ext>
            </a:extLst>
          </p:cNvPr>
          <p:cNvGrpSpPr/>
          <p:nvPr/>
        </p:nvGrpSpPr>
        <p:grpSpPr>
          <a:xfrm>
            <a:off x="7593528" y="2378686"/>
            <a:ext cx="221418" cy="219224"/>
            <a:chOff x="4357687" y="2357437"/>
            <a:chExt cx="428625" cy="428625"/>
          </a:xfrm>
        </p:grpSpPr>
        <p:sp>
          <p:nvSpPr>
            <p:cNvPr id="81" name="Freeform: Shape 80">
              <a:extLst>
                <a:ext uri="{FF2B5EF4-FFF2-40B4-BE49-F238E27FC236}">
                  <a16:creationId xmlns:a16="http://schemas.microsoft.com/office/drawing/2014/main" id="{8B4ECF73-057C-11AD-8143-0D1EB96CBEB8}"/>
                </a:ext>
              </a:extLst>
            </p:cNvPr>
            <p:cNvSpPr/>
            <p:nvPr/>
          </p:nvSpPr>
          <p:spPr>
            <a:xfrm>
              <a:off x="4357687" y="2357437"/>
              <a:ext cx="428625" cy="428625"/>
            </a:xfrm>
            <a:custGeom>
              <a:avLst/>
              <a:gdLst>
                <a:gd name="connsiteX0" fmla="*/ 428625 w 428625"/>
                <a:gd name="connsiteY0" fmla="*/ 214313 h 428625"/>
                <a:gd name="connsiteX1" fmla="*/ 214313 w 428625"/>
                <a:gd name="connsiteY1" fmla="*/ 428625 h 428625"/>
                <a:gd name="connsiteX2" fmla="*/ 0 w 428625"/>
                <a:gd name="connsiteY2" fmla="*/ 214313 h 428625"/>
                <a:gd name="connsiteX3" fmla="*/ 214313 w 428625"/>
                <a:gd name="connsiteY3" fmla="*/ 0 h 428625"/>
                <a:gd name="connsiteX4" fmla="*/ 428625 w 428625"/>
                <a:gd name="connsiteY4" fmla="*/ 214313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428625">
                  <a:moveTo>
                    <a:pt x="428625" y="214313"/>
                  </a:moveTo>
                  <a:cubicBezTo>
                    <a:pt x="428625" y="332674"/>
                    <a:pt x="332674" y="428625"/>
                    <a:pt x="214313" y="428625"/>
                  </a:cubicBezTo>
                  <a:cubicBezTo>
                    <a:pt x="95951" y="428625"/>
                    <a:pt x="0" y="332674"/>
                    <a:pt x="0" y="214313"/>
                  </a:cubicBezTo>
                  <a:cubicBezTo>
                    <a:pt x="0" y="95951"/>
                    <a:pt x="95951" y="0"/>
                    <a:pt x="214313" y="0"/>
                  </a:cubicBezTo>
                  <a:cubicBezTo>
                    <a:pt x="332674" y="0"/>
                    <a:pt x="428625" y="95951"/>
                    <a:pt x="428625" y="214313"/>
                  </a:cubicBezTo>
                  <a:close/>
                </a:path>
              </a:pathLst>
            </a:custGeom>
            <a:solidFill>
              <a:srgbClr val="FF0000"/>
            </a:solidFill>
            <a:ln w="9525" cap="flat">
              <a:noFill/>
              <a:prstDash val="solid"/>
              <a:miter/>
            </a:ln>
          </p:spPr>
          <p:txBody>
            <a:bodyPr rtlCol="0" anchor="ctr"/>
            <a:lstStyle/>
            <a:p>
              <a:endParaRPr lang="en-AE"/>
            </a:p>
          </p:txBody>
        </p:sp>
        <p:sp>
          <p:nvSpPr>
            <p:cNvPr id="82" name="Freeform: Shape 81">
              <a:extLst>
                <a:ext uri="{FF2B5EF4-FFF2-40B4-BE49-F238E27FC236}">
                  <a16:creationId xmlns:a16="http://schemas.microsoft.com/office/drawing/2014/main" id="{F9DA544F-5683-3BC8-89AC-C4DA7838A2FE}"/>
                </a:ext>
              </a:extLst>
            </p:cNvPr>
            <p:cNvSpPr/>
            <p:nvPr/>
          </p:nvSpPr>
          <p:spPr>
            <a:xfrm>
              <a:off x="4491070" y="2490820"/>
              <a:ext cx="161859" cy="161859"/>
            </a:xfrm>
            <a:custGeom>
              <a:avLst/>
              <a:gdLst>
                <a:gd name="connsiteX0" fmla="*/ 156280 w 161859"/>
                <a:gd name="connsiteY0" fmla="*/ 129339 h 161859"/>
                <a:gd name="connsiteX1" fmla="*/ 107870 w 161859"/>
                <a:gd name="connsiteY1" fmla="*/ 80930 h 161859"/>
                <a:gd name="connsiteX2" fmla="*/ 156280 w 161859"/>
                <a:gd name="connsiteY2" fmla="*/ 32520 h 161859"/>
                <a:gd name="connsiteX3" fmla="*/ 156280 w 161859"/>
                <a:gd name="connsiteY3" fmla="*/ 5580 h 161859"/>
                <a:gd name="connsiteX4" fmla="*/ 129339 w 161859"/>
                <a:gd name="connsiteY4" fmla="*/ 5580 h 161859"/>
                <a:gd name="connsiteX5" fmla="*/ 80930 w 161859"/>
                <a:gd name="connsiteY5" fmla="*/ 53989 h 161859"/>
                <a:gd name="connsiteX6" fmla="*/ 32520 w 161859"/>
                <a:gd name="connsiteY6" fmla="*/ 5580 h 161859"/>
                <a:gd name="connsiteX7" fmla="*/ 5580 w 161859"/>
                <a:gd name="connsiteY7" fmla="*/ 5580 h 161859"/>
                <a:gd name="connsiteX8" fmla="*/ 5580 w 161859"/>
                <a:gd name="connsiteY8" fmla="*/ 32520 h 161859"/>
                <a:gd name="connsiteX9" fmla="*/ 53989 w 161859"/>
                <a:gd name="connsiteY9" fmla="*/ 80930 h 161859"/>
                <a:gd name="connsiteX10" fmla="*/ 5580 w 161859"/>
                <a:gd name="connsiteY10" fmla="*/ 129339 h 161859"/>
                <a:gd name="connsiteX11" fmla="*/ 5580 w 161859"/>
                <a:gd name="connsiteY11" fmla="*/ 156280 h 161859"/>
                <a:gd name="connsiteX12" fmla="*/ 32520 w 161859"/>
                <a:gd name="connsiteY12" fmla="*/ 156280 h 161859"/>
                <a:gd name="connsiteX13" fmla="*/ 80930 w 161859"/>
                <a:gd name="connsiteY13" fmla="*/ 107870 h 161859"/>
                <a:gd name="connsiteX14" fmla="*/ 129339 w 161859"/>
                <a:gd name="connsiteY14" fmla="*/ 156280 h 161859"/>
                <a:gd name="connsiteX15" fmla="*/ 156280 w 161859"/>
                <a:gd name="connsiteY15" fmla="*/ 156280 h 161859"/>
                <a:gd name="connsiteX16" fmla="*/ 156280 w 161859"/>
                <a:gd name="connsiteY16" fmla="*/ 129339 h 16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859" h="161859">
                  <a:moveTo>
                    <a:pt x="156280" y="129339"/>
                  </a:moveTo>
                  <a:lnTo>
                    <a:pt x="107870" y="80930"/>
                  </a:lnTo>
                  <a:lnTo>
                    <a:pt x="156280" y="32520"/>
                  </a:lnTo>
                  <a:cubicBezTo>
                    <a:pt x="163719" y="25081"/>
                    <a:pt x="163719" y="13019"/>
                    <a:pt x="156280" y="5580"/>
                  </a:cubicBezTo>
                  <a:cubicBezTo>
                    <a:pt x="148840" y="-1860"/>
                    <a:pt x="136778" y="-1860"/>
                    <a:pt x="129339" y="5580"/>
                  </a:cubicBezTo>
                  <a:lnTo>
                    <a:pt x="80930" y="53989"/>
                  </a:lnTo>
                  <a:lnTo>
                    <a:pt x="32520" y="5580"/>
                  </a:lnTo>
                  <a:cubicBezTo>
                    <a:pt x="25081" y="-1860"/>
                    <a:pt x="13019" y="-1860"/>
                    <a:pt x="5580" y="5580"/>
                  </a:cubicBezTo>
                  <a:cubicBezTo>
                    <a:pt x="-1860" y="13019"/>
                    <a:pt x="-1860" y="25081"/>
                    <a:pt x="5580" y="32520"/>
                  </a:cubicBezTo>
                  <a:lnTo>
                    <a:pt x="53989" y="80930"/>
                  </a:lnTo>
                  <a:lnTo>
                    <a:pt x="5580" y="129339"/>
                  </a:lnTo>
                  <a:cubicBezTo>
                    <a:pt x="-1860" y="136778"/>
                    <a:pt x="-1860" y="148840"/>
                    <a:pt x="5580" y="156280"/>
                  </a:cubicBezTo>
                  <a:cubicBezTo>
                    <a:pt x="13019" y="163719"/>
                    <a:pt x="25081" y="163719"/>
                    <a:pt x="32520" y="156280"/>
                  </a:cubicBezTo>
                  <a:lnTo>
                    <a:pt x="80930" y="107870"/>
                  </a:lnTo>
                  <a:lnTo>
                    <a:pt x="129339" y="156280"/>
                  </a:lnTo>
                  <a:cubicBezTo>
                    <a:pt x="136778" y="163719"/>
                    <a:pt x="148840" y="163719"/>
                    <a:pt x="156280" y="156280"/>
                  </a:cubicBezTo>
                  <a:cubicBezTo>
                    <a:pt x="163719" y="148840"/>
                    <a:pt x="163719" y="136778"/>
                    <a:pt x="156280" y="129339"/>
                  </a:cubicBezTo>
                  <a:close/>
                </a:path>
              </a:pathLst>
            </a:custGeom>
            <a:solidFill>
              <a:srgbClr val="FFFFFF"/>
            </a:solidFill>
            <a:ln w="9525" cap="flat">
              <a:noFill/>
              <a:prstDash val="solid"/>
              <a:miter/>
            </a:ln>
          </p:spPr>
          <p:txBody>
            <a:bodyPr rtlCol="0" anchor="ctr"/>
            <a:lstStyle/>
            <a:p>
              <a:endParaRPr lang="en-AE"/>
            </a:p>
          </p:txBody>
        </p:sp>
      </p:grpSp>
    </p:spTree>
    <p:extLst>
      <p:ext uri="{BB962C8B-B14F-4D97-AF65-F5344CB8AC3E}">
        <p14:creationId xmlns:p14="http://schemas.microsoft.com/office/powerpoint/2010/main" val="21671115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t>Solution Recap</a:t>
            </a:r>
          </a:p>
        </p:txBody>
      </p:sp>
      <p:pic>
        <p:nvPicPr>
          <p:cNvPr id="21" name="Picture 20" descr="A car driving on a road&#10;&#10;Description automatically generated">
            <a:extLst>
              <a:ext uri="{FF2B5EF4-FFF2-40B4-BE49-F238E27FC236}">
                <a16:creationId xmlns:a16="http://schemas.microsoft.com/office/drawing/2014/main" id="{4F0D8BA1-D4AC-270E-04C5-8DFECAA14E4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90500" y="2048714"/>
            <a:ext cx="8705850" cy="1463040"/>
          </a:xfrm>
          <a:prstGeom prst="rect">
            <a:avLst/>
          </a:prstGeom>
        </p:spPr>
      </p:pic>
      <p:sp>
        <p:nvSpPr>
          <p:cNvPr id="22" name="object 11">
            <a:extLst>
              <a:ext uri="{FF2B5EF4-FFF2-40B4-BE49-F238E27FC236}">
                <a16:creationId xmlns:a16="http://schemas.microsoft.com/office/drawing/2014/main" id="{57D103F2-EF61-DE93-BFBD-AB8BAE23AAAF}"/>
              </a:ext>
            </a:extLst>
          </p:cNvPr>
          <p:cNvSpPr/>
          <p:nvPr/>
        </p:nvSpPr>
        <p:spPr>
          <a:xfrm>
            <a:off x="202689" y="812799"/>
            <a:ext cx="4314604" cy="1191261"/>
          </a:xfrm>
          <a:prstGeom prst="round2SameRect">
            <a:avLst>
              <a:gd name="adj1" fmla="val 2230"/>
              <a:gd name="adj2" fmla="val 0"/>
            </a:avLst>
          </a:prstGeom>
          <a:solidFill>
            <a:srgbClr val="FFFFFF"/>
          </a:solidFill>
          <a:effectLst>
            <a:outerShdw blurRad="63500" sx="101000" sy="101000" algn="ctr" rotWithShape="0">
              <a:srgbClr val="345588">
                <a:alpha val="20000"/>
              </a:srgbClr>
            </a:outerShdw>
          </a:effectLst>
        </p:spPr>
        <p:txBody>
          <a:bodyPr wrap="square" lIns="45720" tIns="54864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OPTIMIZED 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ybrid platform for virtualized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ontainer applications</a:t>
            </a:r>
          </a:p>
        </p:txBody>
      </p:sp>
      <p:sp>
        <p:nvSpPr>
          <p:cNvPr id="23" name="object 11">
            <a:extLst>
              <a:ext uri="{FF2B5EF4-FFF2-40B4-BE49-F238E27FC236}">
                <a16:creationId xmlns:a16="http://schemas.microsoft.com/office/drawing/2014/main" id="{08704BCB-E2C1-6108-2A63-8B583D944299}"/>
              </a:ext>
            </a:extLst>
          </p:cNvPr>
          <p:cNvSpPr/>
          <p:nvPr/>
        </p:nvSpPr>
        <p:spPr>
          <a:xfrm>
            <a:off x="4581233" y="812799"/>
            <a:ext cx="4314604" cy="1191261"/>
          </a:xfrm>
          <a:prstGeom prst="round2SameRect">
            <a:avLst>
              <a:gd name="adj1" fmla="val 2230"/>
              <a:gd name="adj2" fmla="val 0"/>
            </a:avLst>
          </a:prstGeom>
          <a:solidFill>
            <a:srgbClr val="FFFFFF"/>
          </a:solidFill>
          <a:effectLst>
            <a:outerShdw blurRad="63500" sx="101000" sy="101000" algn="ctr" rotWithShape="0">
              <a:srgbClr val="345588">
                <a:alpha val="20000"/>
              </a:srgbClr>
            </a:outerShdw>
          </a:effectLst>
        </p:spPr>
        <p:txBody>
          <a:bodyPr wrap="square" lIns="45720" tIns="54864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SELF SERV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Integrated automation, blueprinting and web portal </a:t>
            </a:r>
            <a:b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for end users</a:t>
            </a:r>
          </a:p>
        </p:txBody>
      </p:sp>
      <p:sp>
        <p:nvSpPr>
          <p:cNvPr id="24" name="Rectangle 23">
            <a:extLst>
              <a:ext uri="{FF2B5EF4-FFF2-40B4-BE49-F238E27FC236}">
                <a16:creationId xmlns:a16="http://schemas.microsoft.com/office/drawing/2014/main" id="{307CD5C2-075B-CC27-986E-B6C7A518BD23}"/>
              </a:ext>
            </a:extLst>
          </p:cNvPr>
          <p:cNvSpPr/>
          <p:nvPr/>
        </p:nvSpPr>
        <p:spPr>
          <a:xfrm>
            <a:off x="202686" y="812800"/>
            <a:ext cx="4314604" cy="590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5" name="Flowchart: Delay 24">
            <a:extLst>
              <a:ext uri="{FF2B5EF4-FFF2-40B4-BE49-F238E27FC236}">
                <a16:creationId xmlns:a16="http://schemas.microsoft.com/office/drawing/2014/main" id="{C4D84840-361D-5295-CF89-C917F9DD977E}"/>
              </a:ext>
            </a:extLst>
          </p:cNvPr>
          <p:cNvSpPr/>
          <p:nvPr/>
        </p:nvSpPr>
        <p:spPr>
          <a:xfrm rot="5400000">
            <a:off x="2090628" y="812800"/>
            <a:ext cx="506321" cy="506321"/>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6" name="object 11">
            <a:extLst>
              <a:ext uri="{FF2B5EF4-FFF2-40B4-BE49-F238E27FC236}">
                <a16:creationId xmlns:a16="http://schemas.microsoft.com/office/drawing/2014/main" id="{839302F0-4E63-C8BF-2D08-68FB981E3922}"/>
              </a:ext>
            </a:extLst>
          </p:cNvPr>
          <p:cNvSpPr/>
          <p:nvPr/>
        </p:nvSpPr>
        <p:spPr>
          <a:xfrm>
            <a:off x="202688" y="3556408"/>
            <a:ext cx="2868963" cy="1191261"/>
          </a:xfrm>
          <a:prstGeom prst="round2SameRect">
            <a:avLst>
              <a:gd name="adj1" fmla="val 2230"/>
              <a:gd name="adj2" fmla="val 0"/>
            </a:avLst>
          </a:prstGeom>
          <a:solidFill>
            <a:srgbClr val="FFFFFF"/>
          </a:solidFill>
          <a:effectLst>
            <a:outerShdw blurRad="63500" sx="101000" sy="101000" algn="ctr" rotWithShape="0">
              <a:srgbClr val="345588">
                <a:alpha val="20000"/>
              </a:srgbClr>
            </a:outerShdw>
          </a:effectLst>
        </p:spPr>
        <p:txBody>
          <a:bodyPr wrap="square" lIns="45720" tIns="54864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ONTROLLED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ddress shadow IT with enterprise- backed SLAs</a:t>
            </a:r>
          </a:p>
        </p:txBody>
      </p:sp>
      <p:sp>
        <p:nvSpPr>
          <p:cNvPr id="27" name="Rectangle 26">
            <a:extLst>
              <a:ext uri="{FF2B5EF4-FFF2-40B4-BE49-F238E27FC236}">
                <a16:creationId xmlns:a16="http://schemas.microsoft.com/office/drawing/2014/main" id="{D9AB6657-A24F-1009-283B-40D2E0828463}"/>
              </a:ext>
            </a:extLst>
          </p:cNvPr>
          <p:cNvSpPr/>
          <p:nvPr/>
        </p:nvSpPr>
        <p:spPr>
          <a:xfrm>
            <a:off x="202687" y="3556409"/>
            <a:ext cx="2868963" cy="59074"/>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28" name="object 11">
            <a:extLst>
              <a:ext uri="{FF2B5EF4-FFF2-40B4-BE49-F238E27FC236}">
                <a16:creationId xmlns:a16="http://schemas.microsoft.com/office/drawing/2014/main" id="{E7317306-51B1-51A6-3CFC-4302D44F1A1E}"/>
              </a:ext>
            </a:extLst>
          </p:cNvPr>
          <p:cNvSpPr/>
          <p:nvPr/>
        </p:nvSpPr>
        <p:spPr>
          <a:xfrm>
            <a:off x="3114781" y="3556408"/>
            <a:ext cx="2868963" cy="1191261"/>
          </a:xfrm>
          <a:prstGeom prst="round2SameRect">
            <a:avLst>
              <a:gd name="adj1" fmla="val 2230"/>
              <a:gd name="adj2" fmla="val 0"/>
            </a:avLst>
          </a:prstGeom>
          <a:solidFill>
            <a:srgbClr val="FFFFFF"/>
          </a:solidFill>
          <a:effectLst>
            <a:outerShdw blurRad="63500" sx="101000" sy="101000" algn="ctr" rotWithShape="0">
              <a:srgbClr val="345588">
                <a:alpha val="20000"/>
              </a:srgbClr>
            </a:outerShdw>
          </a:effectLst>
        </p:spPr>
        <p:txBody>
          <a:bodyPr wrap="square" lIns="45720" tIns="54864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PAY AS YOU GO </a:t>
            </a:r>
            <a:b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Small entry point,  no upfront cost and transparent pricing</a:t>
            </a:r>
          </a:p>
        </p:txBody>
      </p:sp>
      <p:sp>
        <p:nvSpPr>
          <p:cNvPr id="29" name="Rectangle 28">
            <a:extLst>
              <a:ext uri="{FF2B5EF4-FFF2-40B4-BE49-F238E27FC236}">
                <a16:creationId xmlns:a16="http://schemas.microsoft.com/office/drawing/2014/main" id="{9EFCD56C-FB2B-088D-DF82-C5E2C620C97D}"/>
              </a:ext>
            </a:extLst>
          </p:cNvPr>
          <p:cNvSpPr/>
          <p:nvPr/>
        </p:nvSpPr>
        <p:spPr>
          <a:xfrm>
            <a:off x="3114780" y="3556409"/>
            <a:ext cx="2868963" cy="59074"/>
          </a:xfrm>
          <a:prstGeom prst="rect">
            <a:avLst/>
          </a:prstGeom>
          <a:solidFill>
            <a:srgbClr val="83C3ED"/>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0" name="object 11">
            <a:extLst>
              <a:ext uri="{FF2B5EF4-FFF2-40B4-BE49-F238E27FC236}">
                <a16:creationId xmlns:a16="http://schemas.microsoft.com/office/drawing/2014/main" id="{DECF450F-577D-5C58-5B2B-5C4B932729DB}"/>
              </a:ext>
            </a:extLst>
          </p:cNvPr>
          <p:cNvSpPr/>
          <p:nvPr/>
        </p:nvSpPr>
        <p:spPr>
          <a:xfrm>
            <a:off x="6026874" y="3556408"/>
            <a:ext cx="2868963" cy="1191261"/>
          </a:xfrm>
          <a:prstGeom prst="round2SameRect">
            <a:avLst>
              <a:gd name="adj1" fmla="val 2230"/>
              <a:gd name="adj2" fmla="val 0"/>
            </a:avLst>
          </a:prstGeom>
          <a:solidFill>
            <a:srgbClr val="FFFFFF"/>
          </a:solidFill>
          <a:effectLst>
            <a:outerShdw blurRad="63500" sx="101000" sy="101000" algn="ctr" rotWithShape="0">
              <a:srgbClr val="345588">
                <a:alpha val="20000"/>
              </a:srgbClr>
            </a:outerShdw>
          </a:effectLst>
        </p:spPr>
        <p:txBody>
          <a:bodyPr wrap="square" lIns="45720" tIns="548640" rIns="4572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PREDICTABLE PRIC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No hidden co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nd standard consumption units</a:t>
            </a:r>
          </a:p>
        </p:txBody>
      </p:sp>
      <p:sp>
        <p:nvSpPr>
          <p:cNvPr id="31" name="Rectangle 30">
            <a:extLst>
              <a:ext uri="{FF2B5EF4-FFF2-40B4-BE49-F238E27FC236}">
                <a16:creationId xmlns:a16="http://schemas.microsoft.com/office/drawing/2014/main" id="{26F35D44-4BB9-F216-7C0E-EAF9D8861F78}"/>
              </a:ext>
            </a:extLst>
          </p:cNvPr>
          <p:cNvSpPr/>
          <p:nvPr/>
        </p:nvSpPr>
        <p:spPr>
          <a:xfrm>
            <a:off x="6026873" y="3556409"/>
            <a:ext cx="2868963" cy="590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2" name="Rectangle 31">
            <a:extLst>
              <a:ext uri="{FF2B5EF4-FFF2-40B4-BE49-F238E27FC236}">
                <a16:creationId xmlns:a16="http://schemas.microsoft.com/office/drawing/2014/main" id="{36BB7B70-A255-4C7D-F425-A2F500B28813}"/>
              </a:ext>
            </a:extLst>
          </p:cNvPr>
          <p:cNvSpPr/>
          <p:nvPr/>
        </p:nvSpPr>
        <p:spPr>
          <a:xfrm>
            <a:off x="4581233" y="812800"/>
            <a:ext cx="4314604" cy="59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3" name="Flowchart: Delay 32">
            <a:extLst>
              <a:ext uri="{FF2B5EF4-FFF2-40B4-BE49-F238E27FC236}">
                <a16:creationId xmlns:a16="http://schemas.microsoft.com/office/drawing/2014/main" id="{8F86D694-4EBE-763E-6E5A-BE0243A11B3C}"/>
              </a:ext>
            </a:extLst>
          </p:cNvPr>
          <p:cNvSpPr/>
          <p:nvPr/>
        </p:nvSpPr>
        <p:spPr>
          <a:xfrm rot="5400000">
            <a:off x="6485375" y="812800"/>
            <a:ext cx="506321" cy="506321"/>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4" name="Flowchart: Delay 33">
            <a:extLst>
              <a:ext uri="{FF2B5EF4-FFF2-40B4-BE49-F238E27FC236}">
                <a16:creationId xmlns:a16="http://schemas.microsoft.com/office/drawing/2014/main" id="{AC2D2024-7C31-DF3F-0259-0B747782BAAB}"/>
              </a:ext>
            </a:extLst>
          </p:cNvPr>
          <p:cNvSpPr/>
          <p:nvPr/>
        </p:nvSpPr>
        <p:spPr>
          <a:xfrm rot="5400000">
            <a:off x="1384009" y="3556408"/>
            <a:ext cx="506321" cy="506321"/>
          </a:xfrm>
          <a:prstGeom prst="flowChartDelay">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5" name="Flowchart: Delay 34">
            <a:extLst>
              <a:ext uri="{FF2B5EF4-FFF2-40B4-BE49-F238E27FC236}">
                <a16:creationId xmlns:a16="http://schemas.microsoft.com/office/drawing/2014/main" id="{B5979530-8339-F1C0-960A-63D1B6ABBA5B}"/>
              </a:ext>
            </a:extLst>
          </p:cNvPr>
          <p:cNvSpPr/>
          <p:nvPr/>
        </p:nvSpPr>
        <p:spPr>
          <a:xfrm rot="5400000">
            <a:off x="4296102" y="3556408"/>
            <a:ext cx="506321" cy="506321"/>
          </a:xfrm>
          <a:prstGeom prst="flowChartDelay">
            <a:avLst/>
          </a:prstGeom>
          <a:solidFill>
            <a:srgbClr val="83C3ED"/>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36" name="Flowchart: Delay 35">
            <a:extLst>
              <a:ext uri="{FF2B5EF4-FFF2-40B4-BE49-F238E27FC236}">
                <a16:creationId xmlns:a16="http://schemas.microsoft.com/office/drawing/2014/main" id="{FC3D2665-0A46-6E72-385B-DD618977BB13}"/>
              </a:ext>
            </a:extLst>
          </p:cNvPr>
          <p:cNvSpPr/>
          <p:nvPr/>
        </p:nvSpPr>
        <p:spPr>
          <a:xfrm rot="5400000">
            <a:off x="7208195" y="3556408"/>
            <a:ext cx="506321" cy="506321"/>
          </a:xfrm>
          <a:prstGeom prst="flowChartDelay">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pic>
        <p:nvPicPr>
          <p:cNvPr id="37" name="Graphic 36">
            <a:extLst>
              <a:ext uri="{FF2B5EF4-FFF2-40B4-BE49-F238E27FC236}">
                <a16:creationId xmlns:a16="http://schemas.microsoft.com/office/drawing/2014/main" id="{92FF0750-37FD-F73D-3389-1B3E73D1E0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94159" y="916331"/>
            <a:ext cx="299258" cy="299258"/>
          </a:xfrm>
          <a:prstGeom prst="rect">
            <a:avLst/>
          </a:prstGeom>
        </p:spPr>
      </p:pic>
      <p:pic>
        <p:nvPicPr>
          <p:cNvPr id="38" name="Graphic 37">
            <a:extLst>
              <a:ext uri="{FF2B5EF4-FFF2-40B4-BE49-F238E27FC236}">
                <a16:creationId xmlns:a16="http://schemas.microsoft.com/office/drawing/2014/main" id="{FEFC9E02-2E19-1D1A-15EB-D079E27494D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87659" y="915084"/>
            <a:ext cx="301752" cy="301752"/>
          </a:xfrm>
          <a:prstGeom prst="rect">
            <a:avLst/>
          </a:prstGeom>
        </p:spPr>
      </p:pic>
      <p:pic>
        <p:nvPicPr>
          <p:cNvPr id="39" name="Graphic 38">
            <a:extLst>
              <a:ext uri="{FF2B5EF4-FFF2-40B4-BE49-F238E27FC236}">
                <a16:creationId xmlns:a16="http://schemas.microsoft.com/office/drawing/2014/main" id="{327CAB20-1456-26F0-10F9-7B5034F79D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10479" y="3658692"/>
            <a:ext cx="301752" cy="301752"/>
          </a:xfrm>
          <a:prstGeom prst="rect">
            <a:avLst/>
          </a:prstGeom>
        </p:spPr>
      </p:pic>
      <p:pic>
        <p:nvPicPr>
          <p:cNvPr id="40" name="Graphic 39">
            <a:extLst>
              <a:ext uri="{FF2B5EF4-FFF2-40B4-BE49-F238E27FC236}">
                <a16:creationId xmlns:a16="http://schemas.microsoft.com/office/drawing/2014/main" id="{14FC2C45-6D26-17C7-D77D-6D98012E03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98386" y="3658692"/>
            <a:ext cx="301752" cy="301752"/>
          </a:xfrm>
          <a:prstGeom prst="rect">
            <a:avLst/>
          </a:prstGeom>
        </p:spPr>
      </p:pic>
      <p:pic>
        <p:nvPicPr>
          <p:cNvPr id="41" name="Graphic 40">
            <a:extLst>
              <a:ext uri="{FF2B5EF4-FFF2-40B4-BE49-F238E27FC236}">
                <a16:creationId xmlns:a16="http://schemas.microsoft.com/office/drawing/2014/main" id="{6B377AE8-0C85-93C6-8161-38389912A07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486293" y="3658692"/>
            <a:ext cx="301752" cy="301752"/>
          </a:xfrm>
          <a:prstGeom prst="rect">
            <a:avLst/>
          </a:prstGeom>
        </p:spPr>
      </p:pic>
    </p:spTree>
    <p:extLst>
      <p:ext uri="{BB962C8B-B14F-4D97-AF65-F5344CB8AC3E}">
        <p14:creationId xmlns:p14="http://schemas.microsoft.com/office/powerpoint/2010/main" val="19709542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F0F8E5-6337-C7BB-9CE3-9DE9B4759AA3}"/>
              </a:ext>
            </a:extLst>
          </p:cNvPr>
          <p:cNvSpPr>
            <a:spLocks noGrp="1"/>
          </p:cNvSpPr>
          <p:nvPr>
            <p:ph type="title"/>
          </p:nvPr>
        </p:nvSpPr>
        <p:spPr/>
        <p:txBody>
          <a:bodyPr/>
          <a:lstStyle/>
          <a:p>
            <a:endParaRPr lang="en-IN"/>
          </a:p>
        </p:txBody>
      </p:sp>
      <p:sp>
        <p:nvSpPr>
          <p:cNvPr id="7" name="Rectangle 6">
            <a:extLst>
              <a:ext uri="{FF2B5EF4-FFF2-40B4-BE49-F238E27FC236}">
                <a16:creationId xmlns:a16="http://schemas.microsoft.com/office/drawing/2014/main" id="{80469D01-4987-4EC5-CC0A-F75BDF7E5C54}"/>
              </a:ext>
            </a:extLst>
          </p:cNvPr>
          <p:cNvSpPr/>
          <p:nvPr/>
        </p:nvSpPr>
        <p:spPr>
          <a:xfrm>
            <a:off x="-652801" y="0"/>
            <a:ext cx="424818" cy="43005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normalizeH="0" baseline="0" noProof="0">
              <a:ln>
                <a:noFill/>
              </a:ln>
              <a:solidFill>
                <a:srgbClr val="FFFFFF"/>
              </a:solidFill>
              <a:effectLst/>
              <a:uLnTx/>
              <a:uFillTx/>
              <a:latin typeface="Neue Haas Grotesk Text Pro" panose="020B0504020202020204" pitchFamily="34" charset="0"/>
              <a:sym typeface="Arial"/>
            </a:endParaRPr>
          </a:p>
        </p:txBody>
      </p:sp>
      <p:sp>
        <p:nvSpPr>
          <p:cNvPr id="52" name="Rectangle 51">
            <a:extLst>
              <a:ext uri="{FF2B5EF4-FFF2-40B4-BE49-F238E27FC236}">
                <a16:creationId xmlns:a16="http://schemas.microsoft.com/office/drawing/2014/main" id="{28C8B41E-6665-19FC-D7B3-2043F4CE4BC2}"/>
              </a:ext>
            </a:extLst>
          </p:cNvPr>
          <p:cNvSpPr/>
          <p:nvPr/>
        </p:nvSpPr>
        <p:spPr>
          <a:xfrm>
            <a:off x="-652801" y="430056"/>
            <a:ext cx="424818" cy="43005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normalizeH="0" baseline="0" noProof="0">
              <a:ln>
                <a:noFill/>
              </a:ln>
              <a:solidFill>
                <a:srgbClr val="FFFFFF"/>
              </a:solidFill>
              <a:effectLst/>
              <a:uLnTx/>
              <a:uFillTx/>
              <a:latin typeface="Neue Haas Grotesk Text Pro" panose="020B0504020202020204" pitchFamily="34" charset="0"/>
              <a:sym typeface="Arial"/>
            </a:endParaRPr>
          </a:p>
        </p:txBody>
      </p:sp>
      <p:sp>
        <p:nvSpPr>
          <p:cNvPr id="53" name="Rectangle 52">
            <a:extLst>
              <a:ext uri="{FF2B5EF4-FFF2-40B4-BE49-F238E27FC236}">
                <a16:creationId xmlns:a16="http://schemas.microsoft.com/office/drawing/2014/main" id="{061F8B5F-3D97-4573-760C-DC3ED492FF5F}"/>
              </a:ext>
            </a:extLst>
          </p:cNvPr>
          <p:cNvSpPr/>
          <p:nvPr/>
        </p:nvSpPr>
        <p:spPr>
          <a:xfrm>
            <a:off x="-652801" y="860112"/>
            <a:ext cx="424818" cy="4300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548640" rIns="36000" bIns="7239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latin typeface="Neue Haas Grotesk Text Pro" panose="020B0504020202020204" pitchFamily="34" charset="0"/>
            </a:endParaRPr>
          </a:p>
        </p:txBody>
      </p:sp>
      <p:sp>
        <p:nvSpPr>
          <p:cNvPr id="54" name="Rectangle 53">
            <a:extLst>
              <a:ext uri="{FF2B5EF4-FFF2-40B4-BE49-F238E27FC236}">
                <a16:creationId xmlns:a16="http://schemas.microsoft.com/office/drawing/2014/main" id="{7E10B2A0-213C-F8DA-4E9D-C728DBA23389}"/>
              </a:ext>
            </a:extLst>
          </p:cNvPr>
          <p:cNvSpPr/>
          <p:nvPr/>
        </p:nvSpPr>
        <p:spPr>
          <a:xfrm>
            <a:off x="-652801" y="1285654"/>
            <a:ext cx="424818" cy="430056"/>
          </a:xfrm>
          <a:prstGeom prst="rect">
            <a:avLst/>
          </a:prstGeom>
          <a:solidFill>
            <a:schemeClr val="accent6"/>
          </a:solidFill>
          <a:ln>
            <a:noFill/>
          </a:ln>
        </p:spPr>
        <p:txBody>
          <a:bodyPr wrap="square" lIns="73152" tIns="72000" rIns="73152" bIns="73152" anchor="ctr">
            <a:noAutofit/>
          </a:bodyPr>
          <a:lstStyle/>
          <a:p>
            <a:pPr marL="0" marR="0" lvl="1" algn="ctr" defTabSz="9144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a:ln>
                <a:noFill/>
              </a:ln>
              <a:effectLst/>
              <a:uLnTx/>
              <a:uFillTx/>
              <a:latin typeface="Neue Haas Grotesk Text Pro" panose="020B0504020202020204" pitchFamily="34" charset="0"/>
            </a:endParaRPr>
          </a:p>
        </p:txBody>
      </p:sp>
      <p:sp>
        <p:nvSpPr>
          <p:cNvPr id="4" name="Title 1">
            <a:extLst>
              <a:ext uri="{FF2B5EF4-FFF2-40B4-BE49-F238E27FC236}">
                <a16:creationId xmlns:a16="http://schemas.microsoft.com/office/drawing/2014/main" id="{30ED7202-99BA-3795-4497-3C8799DD7283}"/>
              </a:ext>
            </a:extLst>
          </p:cNvPr>
          <p:cNvSpPr txBox="1">
            <a:spLocks/>
          </p:cNvSpPr>
          <p:nvPr/>
        </p:nvSpPr>
        <p:spPr>
          <a:xfrm>
            <a:off x="789813" y="1665611"/>
            <a:ext cx="5313936" cy="873499"/>
          </a:xfrm>
          <a:prstGeom prst="rect">
            <a:avLst/>
          </a:prstGeom>
          <a:effectLst/>
        </p:spPr>
        <p:txBody>
          <a:bodyPr vert="horz" lIns="0" tIns="0" rIns="0" bIns="0" rtlCol="0" anchor="t" anchorCtr="0">
            <a:noAutofit/>
          </a:bodyPr>
          <a:lstStyle>
            <a:lvl1pPr algn="l" defTabSz="914400" rtl="0" eaLnBrk="1" latinLnBrk="0" hangingPunct="1">
              <a:lnSpc>
                <a:spcPct val="80000"/>
              </a:lnSpc>
              <a:spcBef>
                <a:spcPct val="0"/>
              </a:spcBef>
              <a:buNone/>
              <a:defRPr lang="en-US" sz="7200" b="1" i="0" kern="1200" cap="none" spc="-50" baseline="0">
                <a:solidFill>
                  <a:schemeClr val="bg1"/>
                </a:solidFill>
                <a:latin typeface="Neue Haas Grotesk Text Pro" panose="020B0504020202020204" pitchFamily="34" charset="77"/>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7200" b="1" i="0" u="none" strike="noStrike" kern="1200" cap="none" spc="-50" normalizeH="0" baseline="0" noProof="0">
                <a:ln>
                  <a:noFill/>
                </a:ln>
                <a:solidFill>
                  <a:srgbClr val="FFFFFF">
                    <a:lumMod val="95000"/>
                  </a:srgbClr>
                </a:solidFill>
                <a:effectLst/>
                <a:uLnTx/>
                <a:uFillTx/>
                <a:latin typeface="Neue Haas Grotesk Text Pro" panose="020B0504020202020204" pitchFamily="34" charset="77"/>
                <a:ea typeface="+mj-ea"/>
                <a:cs typeface="+mj-cs"/>
              </a:rPr>
              <a:t>Thank You</a:t>
            </a:r>
          </a:p>
        </p:txBody>
      </p:sp>
    </p:spTree>
    <p:extLst>
      <p:ext uri="{BB962C8B-B14F-4D97-AF65-F5344CB8AC3E}">
        <p14:creationId xmlns:p14="http://schemas.microsoft.com/office/powerpoint/2010/main" val="144229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B35EEA-945F-85FC-B5D7-35D833F93B74}"/>
              </a:ext>
            </a:extLst>
          </p:cNvPr>
          <p:cNvSpPr>
            <a:spLocks noGrp="1"/>
          </p:cNvSpPr>
          <p:nvPr>
            <p:ph type="title"/>
          </p:nvPr>
        </p:nvSpPr>
        <p:spPr>
          <a:xfrm>
            <a:off x="202688" y="53113"/>
            <a:ext cx="8232652" cy="732441"/>
          </a:xfrm>
        </p:spPr>
        <p:txBody>
          <a:bodyPr/>
          <a:lstStyle/>
          <a:p>
            <a:r>
              <a:rPr lang="en-GB">
                <a:latin typeface="Neue Haas Grotesk Text Pro" panose="020B0504020202020204" pitchFamily="34" charset="0"/>
              </a:rPr>
              <a:t>New Hitachi EverFlex | Infrastructure as a Service Portfolio</a:t>
            </a:r>
            <a:endParaRPr lang="es-ES"/>
          </a:p>
        </p:txBody>
      </p:sp>
      <p:sp>
        <p:nvSpPr>
          <p:cNvPr id="6" name="Rectangle 5">
            <a:extLst>
              <a:ext uri="{FF2B5EF4-FFF2-40B4-BE49-F238E27FC236}">
                <a16:creationId xmlns:a16="http://schemas.microsoft.com/office/drawing/2014/main" id="{B7B6C816-241E-C6C7-B76D-9222158A834E}"/>
              </a:ext>
            </a:extLst>
          </p:cNvPr>
          <p:cNvSpPr/>
          <p:nvPr/>
        </p:nvSpPr>
        <p:spPr>
          <a:xfrm>
            <a:off x="223200" y="1346996"/>
            <a:ext cx="2673011" cy="2942580"/>
          </a:xfrm>
          <a:prstGeom prst="rect">
            <a:avLst/>
          </a:prstGeom>
          <a:solidFill>
            <a:schemeClr val="accent3">
              <a:lumMod val="20000"/>
              <a:lumOff val="80000"/>
            </a:schemeClr>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C0000"/>
              </a:solidFill>
              <a:effectLst/>
              <a:uLnTx/>
              <a:uFillTx/>
              <a:latin typeface="Neue Haas Grotesk Text Pro" panose="020B0504020202020204" pitchFamily="34" charset="77"/>
              <a:ea typeface="+mn-ea"/>
              <a:cs typeface="+mn-cs"/>
            </a:endParaRPr>
          </a:p>
        </p:txBody>
      </p:sp>
      <p:sp>
        <p:nvSpPr>
          <p:cNvPr id="7" name="TextBox 6">
            <a:extLst>
              <a:ext uri="{FF2B5EF4-FFF2-40B4-BE49-F238E27FC236}">
                <a16:creationId xmlns:a16="http://schemas.microsoft.com/office/drawing/2014/main" id="{64711938-F7D1-8E29-1913-0F88E08FBC42}"/>
              </a:ext>
            </a:extLst>
          </p:cNvPr>
          <p:cNvSpPr txBox="1"/>
          <p:nvPr/>
        </p:nvSpPr>
        <p:spPr>
          <a:xfrm>
            <a:off x="451065" y="1494779"/>
            <a:ext cx="1441200" cy="166199"/>
          </a:xfrm>
          <a:prstGeom prst="rect">
            <a:avLst/>
          </a:prstGeom>
          <a:noFill/>
        </p:spPr>
        <p:txBody>
          <a:bodyPr wrap="square" lIns="0" tIns="0" rIns="0" bIns="0" rtlCol="0">
            <a:spAutoFit/>
          </a:bodyPr>
          <a:lstStyle/>
          <a:p>
            <a:pPr marL="0" marR="0" lvl="0" indent="0" algn="l" defTabSz="685766" rtl="0" eaLnBrk="1" fontAlgn="auto" latinLnBrk="0" hangingPunct="1">
              <a:lnSpc>
                <a:spcPct val="90000"/>
              </a:lnSpc>
              <a:spcBef>
                <a:spcPts val="450"/>
              </a:spcBef>
              <a:spcAft>
                <a:spcPts val="0"/>
              </a:spcAft>
              <a:buClrTx/>
              <a:buSzTx/>
              <a:buFontTx/>
              <a:buNone/>
              <a:tabLst/>
              <a:defRPr/>
            </a:pPr>
            <a:r>
              <a:rPr kumimoji="0" lang="en-US" sz="1200" b="1" i="0" u="none" strike="noStrike" kern="1200" cap="none" spc="0" normalizeH="0" baseline="0" noProof="0">
                <a:ln>
                  <a:noFill/>
                </a:ln>
                <a:solidFill>
                  <a:srgbClr val="93419A"/>
                </a:solidFill>
                <a:effectLst/>
                <a:uLnTx/>
                <a:uFillTx/>
                <a:latin typeface="Neue Haas Grotesk Text Pro" panose="020B0504020202020204" pitchFamily="34" charset="77"/>
                <a:ea typeface="+mn-ea"/>
                <a:cs typeface="+mn-cs"/>
              </a:rPr>
              <a:t>EverFlex Control</a:t>
            </a:r>
          </a:p>
        </p:txBody>
      </p:sp>
      <p:sp>
        <p:nvSpPr>
          <p:cNvPr id="8" name="Rectangle 7">
            <a:extLst>
              <a:ext uri="{FF2B5EF4-FFF2-40B4-BE49-F238E27FC236}">
                <a16:creationId xmlns:a16="http://schemas.microsoft.com/office/drawing/2014/main" id="{3D941369-F7A8-4717-4E4D-D2132C550A55}"/>
              </a:ext>
            </a:extLst>
          </p:cNvPr>
          <p:cNvSpPr/>
          <p:nvPr/>
        </p:nvSpPr>
        <p:spPr>
          <a:xfrm>
            <a:off x="2957574" y="2783911"/>
            <a:ext cx="5963226" cy="1505666"/>
          </a:xfrm>
          <a:prstGeom prst="rect">
            <a:avLst/>
          </a:prstGeom>
          <a:solidFill>
            <a:srgbClr val="FFE7E7"/>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C0000"/>
              </a:solidFill>
              <a:effectLst/>
              <a:uLnTx/>
              <a:uFillTx/>
              <a:latin typeface="Neue Haas Grotesk Text Pro" panose="020B0504020202020204" pitchFamily="34" charset="77"/>
              <a:ea typeface="+mn-ea"/>
              <a:cs typeface="+mn-cs"/>
            </a:endParaRPr>
          </a:p>
        </p:txBody>
      </p:sp>
      <p:grpSp>
        <p:nvGrpSpPr>
          <p:cNvPr id="9" name="Group 8">
            <a:extLst>
              <a:ext uri="{FF2B5EF4-FFF2-40B4-BE49-F238E27FC236}">
                <a16:creationId xmlns:a16="http://schemas.microsoft.com/office/drawing/2014/main" id="{072EC19F-733E-E097-F3BC-A411B8DCF962}"/>
              </a:ext>
            </a:extLst>
          </p:cNvPr>
          <p:cNvGrpSpPr/>
          <p:nvPr/>
        </p:nvGrpSpPr>
        <p:grpSpPr>
          <a:xfrm>
            <a:off x="2458068" y="1346997"/>
            <a:ext cx="438142" cy="406666"/>
            <a:chOff x="3315823" y="2218395"/>
            <a:chExt cx="584189" cy="542221"/>
          </a:xfrm>
        </p:grpSpPr>
        <p:sp>
          <p:nvSpPr>
            <p:cNvPr id="10" name="Freeform: Shape 9">
              <a:extLst>
                <a:ext uri="{FF2B5EF4-FFF2-40B4-BE49-F238E27FC236}">
                  <a16:creationId xmlns:a16="http://schemas.microsoft.com/office/drawing/2014/main" id="{0850C9E5-8BA8-CB04-F781-B81B54C3B364}"/>
                </a:ext>
              </a:extLst>
            </p:cNvPr>
            <p:cNvSpPr/>
            <p:nvPr/>
          </p:nvSpPr>
          <p:spPr>
            <a:xfrm>
              <a:off x="3315823" y="2218395"/>
              <a:ext cx="584189" cy="542221"/>
            </a:xfrm>
            <a:custGeom>
              <a:avLst/>
              <a:gdLst>
                <a:gd name="connsiteX0" fmla="*/ 11068 w 441399"/>
                <a:gd name="connsiteY0" fmla="*/ 0 h 406666"/>
                <a:gd name="connsiteX1" fmla="*/ 441399 w 441399"/>
                <a:gd name="connsiteY1" fmla="*/ 0 h 406666"/>
                <a:gd name="connsiteX2" fmla="*/ 441399 w 441399"/>
                <a:gd name="connsiteY2" fmla="*/ 384817 h 406666"/>
                <a:gd name="connsiteX3" fmla="*/ 392387 w 441399"/>
                <a:gd name="connsiteY3" fmla="*/ 400031 h 406666"/>
                <a:gd name="connsiteX4" fmla="*/ 326571 w 441399"/>
                <a:gd name="connsiteY4" fmla="*/ 406666 h 406666"/>
                <a:gd name="connsiteX5" fmla="*/ 0 w 441399"/>
                <a:gd name="connsiteY5" fmla="*/ 80095 h 406666"/>
                <a:gd name="connsiteX6" fmla="*/ 6635 w 441399"/>
                <a:gd name="connsiteY6" fmla="*/ 14280 h 4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399" h="406666">
                  <a:moveTo>
                    <a:pt x="11068" y="0"/>
                  </a:moveTo>
                  <a:lnTo>
                    <a:pt x="441399" y="0"/>
                  </a:lnTo>
                  <a:lnTo>
                    <a:pt x="441399" y="384817"/>
                  </a:lnTo>
                  <a:lnTo>
                    <a:pt x="392387" y="400031"/>
                  </a:lnTo>
                  <a:cubicBezTo>
                    <a:pt x="371128" y="404382"/>
                    <a:pt x="349116" y="406666"/>
                    <a:pt x="326571" y="406666"/>
                  </a:cubicBezTo>
                  <a:cubicBezTo>
                    <a:pt x="146211" y="406666"/>
                    <a:pt x="0" y="260455"/>
                    <a:pt x="0" y="80095"/>
                  </a:cubicBezTo>
                  <a:cubicBezTo>
                    <a:pt x="0" y="57550"/>
                    <a:pt x="2285" y="35539"/>
                    <a:pt x="6635" y="14280"/>
                  </a:cubicBezTo>
                  <a:close/>
                </a:path>
              </a:pathLst>
            </a:custGeom>
            <a:solidFill>
              <a:schemeClr val="accent3"/>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93419A"/>
                </a:solidFill>
                <a:effectLst/>
                <a:uLnTx/>
                <a:uFillTx/>
                <a:latin typeface="Neue Haas Grotesk Text Pro" panose="020B0504020202020204" pitchFamily="34" charset="77"/>
                <a:ea typeface="+mn-ea"/>
                <a:cs typeface="+mn-cs"/>
              </a:endParaRPr>
            </a:p>
          </p:txBody>
        </p:sp>
        <p:pic>
          <p:nvPicPr>
            <p:cNvPr id="11" name="Graphic 10">
              <a:extLst>
                <a:ext uri="{FF2B5EF4-FFF2-40B4-BE49-F238E27FC236}">
                  <a16:creationId xmlns:a16="http://schemas.microsoft.com/office/drawing/2014/main" id="{FD662642-C5FF-81D6-8EFE-B13096CD594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92109" y="2308580"/>
              <a:ext cx="315076" cy="324173"/>
            </a:xfrm>
            <a:prstGeom prst="rect">
              <a:avLst/>
            </a:prstGeom>
          </p:spPr>
        </p:pic>
      </p:grpSp>
      <p:sp>
        <p:nvSpPr>
          <p:cNvPr id="12" name="Rectángulo 4">
            <a:extLst>
              <a:ext uri="{FF2B5EF4-FFF2-40B4-BE49-F238E27FC236}">
                <a16:creationId xmlns:a16="http://schemas.microsoft.com/office/drawing/2014/main" id="{A0F3B06E-E8A1-0424-CAEB-C399703CFA97}"/>
              </a:ext>
            </a:extLst>
          </p:cNvPr>
          <p:cNvSpPr/>
          <p:nvPr/>
        </p:nvSpPr>
        <p:spPr>
          <a:xfrm>
            <a:off x="451066" y="1942657"/>
            <a:ext cx="2335921" cy="1923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Self Service Portal</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Heterogeneous Observability &amp; Orchestration</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Intelligent Alert Management</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Automation and Self-Healing</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AIOps</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Provisioning</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222222"/>
                </a:solidFill>
                <a:effectLst/>
                <a:uLnTx/>
                <a:uFillTx/>
                <a:latin typeface="Neue Haas Grotesk Text Pro"/>
                <a:ea typeface="+mn-ea"/>
                <a:cs typeface="+mn-cs"/>
              </a:rPr>
              <a:t>Quote-to-Billing Lifecycle</a:t>
            </a:r>
          </a:p>
          <a:p>
            <a:pPr marL="171446" marR="0" lvl="0" indent="-171446" algn="l" defTabSz="685800" rtl="0" eaLnBrk="1" fontAlgn="auto" latinLnBrk="0" hangingPunct="1">
              <a:lnSpc>
                <a:spcPct val="100000"/>
              </a:lnSpc>
              <a:spcBef>
                <a:spcPts val="0"/>
              </a:spcBef>
              <a:spcAft>
                <a:spcPts val="600"/>
              </a:spcAft>
              <a:buClr>
                <a:srgbClr val="CC0000"/>
              </a:buClr>
              <a:buSzTx/>
              <a:buFont typeface="Arial" panose="020B0604020202020204" pitchFamily="34" charset="0"/>
              <a:buChar char="•"/>
              <a:tabLst/>
              <a:defRPr/>
            </a:pPr>
            <a:endParaRPr kumimoji="0" lang="en-US" sz="1000" b="1"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endParaRPr>
          </a:p>
        </p:txBody>
      </p:sp>
      <p:sp>
        <p:nvSpPr>
          <p:cNvPr id="13" name="Freeform: Shape 12">
            <a:extLst>
              <a:ext uri="{FF2B5EF4-FFF2-40B4-BE49-F238E27FC236}">
                <a16:creationId xmlns:a16="http://schemas.microsoft.com/office/drawing/2014/main" id="{AC7531EC-2B9E-0D2C-76D8-305F8E9C4B06}"/>
              </a:ext>
            </a:extLst>
          </p:cNvPr>
          <p:cNvSpPr/>
          <p:nvPr/>
        </p:nvSpPr>
        <p:spPr>
          <a:xfrm>
            <a:off x="8496345" y="2783912"/>
            <a:ext cx="438142" cy="406666"/>
          </a:xfrm>
          <a:custGeom>
            <a:avLst/>
            <a:gdLst>
              <a:gd name="connsiteX0" fmla="*/ 11068 w 441399"/>
              <a:gd name="connsiteY0" fmla="*/ 0 h 406666"/>
              <a:gd name="connsiteX1" fmla="*/ 441399 w 441399"/>
              <a:gd name="connsiteY1" fmla="*/ 0 h 406666"/>
              <a:gd name="connsiteX2" fmla="*/ 441399 w 441399"/>
              <a:gd name="connsiteY2" fmla="*/ 384817 h 406666"/>
              <a:gd name="connsiteX3" fmla="*/ 392387 w 441399"/>
              <a:gd name="connsiteY3" fmla="*/ 400031 h 406666"/>
              <a:gd name="connsiteX4" fmla="*/ 326571 w 441399"/>
              <a:gd name="connsiteY4" fmla="*/ 406666 h 406666"/>
              <a:gd name="connsiteX5" fmla="*/ 0 w 441399"/>
              <a:gd name="connsiteY5" fmla="*/ 80095 h 406666"/>
              <a:gd name="connsiteX6" fmla="*/ 6635 w 441399"/>
              <a:gd name="connsiteY6" fmla="*/ 14280 h 4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399" h="406666">
                <a:moveTo>
                  <a:pt x="11068" y="0"/>
                </a:moveTo>
                <a:lnTo>
                  <a:pt x="441399" y="0"/>
                </a:lnTo>
                <a:lnTo>
                  <a:pt x="441399" y="384817"/>
                </a:lnTo>
                <a:lnTo>
                  <a:pt x="392387" y="400031"/>
                </a:lnTo>
                <a:cubicBezTo>
                  <a:pt x="371128" y="404382"/>
                  <a:pt x="349116" y="406666"/>
                  <a:pt x="326571" y="406666"/>
                </a:cubicBezTo>
                <a:cubicBezTo>
                  <a:pt x="146211" y="406666"/>
                  <a:pt x="0" y="260455"/>
                  <a:pt x="0" y="80095"/>
                </a:cubicBezTo>
                <a:cubicBezTo>
                  <a:pt x="0" y="57550"/>
                  <a:pt x="2285" y="35539"/>
                  <a:pt x="6635" y="14280"/>
                </a:cubicBezTo>
                <a:close/>
              </a:path>
            </a:pathLst>
          </a:custGeom>
          <a:solidFill>
            <a:schemeClr val="accent4"/>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endParaRPr>
          </a:p>
        </p:txBody>
      </p:sp>
      <p:sp>
        <p:nvSpPr>
          <p:cNvPr id="14" name="TextBox 13">
            <a:extLst>
              <a:ext uri="{FF2B5EF4-FFF2-40B4-BE49-F238E27FC236}">
                <a16:creationId xmlns:a16="http://schemas.microsoft.com/office/drawing/2014/main" id="{D5DBA441-5B3B-BC03-EF20-14D23BEE8D9C}"/>
              </a:ext>
            </a:extLst>
          </p:cNvPr>
          <p:cNvSpPr txBox="1"/>
          <p:nvPr/>
        </p:nvSpPr>
        <p:spPr>
          <a:xfrm>
            <a:off x="3095472" y="2938569"/>
            <a:ext cx="2037780" cy="166199"/>
          </a:xfrm>
          <a:prstGeom prst="rect">
            <a:avLst/>
          </a:prstGeom>
          <a:noFill/>
        </p:spPr>
        <p:txBody>
          <a:bodyPr wrap="square" lIns="0" tIns="0" rIns="0" bIns="0" rtlCol="0">
            <a:spAutoFit/>
          </a:bodyPr>
          <a:lstStyle/>
          <a:p>
            <a:pPr marL="0" marR="0" lvl="0" indent="0" algn="l" defTabSz="685766" rtl="0" eaLnBrk="1" fontAlgn="auto" latinLnBrk="0" hangingPunct="1">
              <a:lnSpc>
                <a:spcPct val="90000"/>
              </a:lnSpc>
              <a:spcBef>
                <a:spcPts val="450"/>
              </a:spcBef>
              <a:spcAft>
                <a:spcPts val="0"/>
              </a:spcAft>
              <a:buClrTx/>
              <a:buSzTx/>
              <a:buFontTx/>
              <a:buNone/>
              <a:tabLst/>
              <a:defRPr/>
            </a:pPr>
            <a:r>
              <a:rPr kumimoji="0" lang="en-US" sz="1200" b="1" i="0" u="none" strike="noStrike" kern="1200" cap="none" spc="0" normalizeH="0" baseline="0" noProof="0">
                <a:ln>
                  <a:noFill/>
                </a:ln>
                <a:solidFill>
                  <a:srgbClr val="F10000">
                    <a:lumMod val="75000"/>
                  </a:srgbClr>
                </a:solidFill>
                <a:effectLst/>
                <a:uLnTx/>
                <a:uFillTx/>
                <a:latin typeface="Neue Haas Grotesk Text Pro" panose="020B0504020202020204" pitchFamily="34" charset="77"/>
                <a:ea typeface="+mn-ea"/>
                <a:cs typeface="+mn-cs"/>
              </a:rPr>
              <a:t>EverFlex Service Catalog</a:t>
            </a:r>
          </a:p>
        </p:txBody>
      </p:sp>
      <p:sp>
        <p:nvSpPr>
          <p:cNvPr id="15" name="Rectángulo 4">
            <a:extLst>
              <a:ext uri="{FF2B5EF4-FFF2-40B4-BE49-F238E27FC236}">
                <a16:creationId xmlns:a16="http://schemas.microsoft.com/office/drawing/2014/main" id="{C8FF9F84-20B6-DE4F-5401-5C12636470BC}"/>
              </a:ext>
            </a:extLst>
          </p:cNvPr>
          <p:cNvSpPr/>
          <p:nvPr/>
        </p:nvSpPr>
        <p:spPr>
          <a:xfrm>
            <a:off x="3095474" y="3169663"/>
            <a:ext cx="1728747" cy="84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IaaS with Cisco</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Storage (STaaS) Block</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Storage (STaaS) File</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Storage (STaaS) Object</a:t>
            </a:r>
          </a:p>
        </p:txBody>
      </p:sp>
      <p:sp>
        <p:nvSpPr>
          <p:cNvPr id="16" name="Rectángulo 4">
            <a:extLst>
              <a:ext uri="{FF2B5EF4-FFF2-40B4-BE49-F238E27FC236}">
                <a16:creationId xmlns:a16="http://schemas.microsoft.com/office/drawing/2014/main" id="{CE802FB0-E83E-E683-D0D3-45C19D0E76DE}"/>
              </a:ext>
            </a:extLst>
          </p:cNvPr>
          <p:cNvSpPr/>
          <p:nvPr/>
        </p:nvSpPr>
        <p:spPr>
          <a:xfrm>
            <a:off x="4993298" y="3169663"/>
            <a:ext cx="1900744" cy="84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FinOps</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Data Protection (</a:t>
            </a:r>
            <a:r>
              <a:rPr kumimoji="0" lang="en-US" sz="1000" b="0" i="0" u="none" strike="noStrike" kern="1200" cap="none" spc="0" normalizeH="0" baseline="0" noProof="0" dirty="0" err="1">
                <a:ln>
                  <a:noFill/>
                </a:ln>
                <a:solidFill>
                  <a:srgbClr val="222222"/>
                </a:solidFill>
                <a:effectLst/>
                <a:uLnTx/>
                <a:uFillTx/>
                <a:latin typeface="Neue Haas Grotesk Text Pro" panose="020B0504020202020204" pitchFamily="34" charset="77"/>
                <a:ea typeface="+mn-ea"/>
                <a:cs typeface="+mn-cs"/>
              </a:rPr>
              <a:t>DPaaS</a:t>
            </a: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SAN Networking (</a:t>
            </a:r>
            <a:r>
              <a:rPr kumimoji="0" lang="en-US" sz="1000" b="0" i="0" u="none" strike="noStrike" kern="1200" cap="none" spc="0" normalizeH="0" baseline="0" noProof="0" dirty="0" err="1">
                <a:ln>
                  <a:noFill/>
                </a:ln>
                <a:solidFill>
                  <a:srgbClr val="222222"/>
                </a:solidFill>
                <a:effectLst/>
                <a:uLnTx/>
                <a:uFillTx/>
                <a:latin typeface="Neue Haas Grotesk Text Pro" panose="020B0504020202020204" pitchFamily="34" charset="77"/>
                <a:ea typeface="+mn-ea"/>
                <a:cs typeface="+mn-cs"/>
              </a:rPr>
              <a:t>SNaaS</a:t>
            </a: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Dev Sec Ops</a:t>
            </a:r>
          </a:p>
        </p:txBody>
      </p:sp>
      <p:sp>
        <p:nvSpPr>
          <p:cNvPr id="17" name="Rectángulo 4">
            <a:extLst>
              <a:ext uri="{FF2B5EF4-FFF2-40B4-BE49-F238E27FC236}">
                <a16:creationId xmlns:a16="http://schemas.microsoft.com/office/drawing/2014/main" id="{B1DC313F-53D3-B98B-06B1-1AEBC3656AE0}"/>
              </a:ext>
            </a:extLst>
          </p:cNvPr>
          <p:cNvSpPr/>
          <p:nvPr/>
        </p:nvSpPr>
        <p:spPr>
          <a:xfrm>
            <a:off x="6991119" y="3169663"/>
            <a:ext cx="1759094" cy="1000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Bare Metal (</a:t>
            </a:r>
            <a:r>
              <a:rPr kumimoji="0" lang="en-US" sz="1000" b="0" i="0" u="none" strike="noStrike" kern="1200" cap="none" spc="0" normalizeH="0" baseline="0" noProof="0" dirty="0" err="1">
                <a:ln>
                  <a:noFill/>
                </a:ln>
                <a:solidFill>
                  <a:srgbClr val="222222"/>
                </a:solidFill>
                <a:effectLst/>
                <a:uLnTx/>
                <a:uFillTx/>
                <a:latin typeface="Neue Haas Grotesk Text Pro" panose="020B0504020202020204" pitchFamily="34" charset="77"/>
                <a:ea typeface="+mn-ea"/>
                <a:cs typeface="+mn-cs"/>
              </a:rPr>
              <a:t>BMaaS</a:t>
            </a: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Containers (CaaS)</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Virtual Machine (</a:t>
            </a:r>
            <a:r>
              <a:rPr kumimoji="0" lang="en-US" sz="1000" b="0" i="0" u="none" strike="noStrike" kern="1200" cap="none" spc="0" normalizeH="0" baseline="0" noProof="0" dirty="0" err="1">
                <a:ln>
                  <a:noFill/>
                </a:ln>
                <a:solidFill>
                  <a:srgbClr val="222222"/>
                </a:solidFill>
                <a:effectLst/>
                <a:uLnTx/>
                <a:uFillTx/>
                <a:latin typeface="Neue Haas Grotesk Text Pro" panose="020B0504020202020204" pitchFamily="34" charset="77"/>
                <a:ea typeface="+mn-ea"/>
                <a:cs typeface="+mn-cs"/>
              </a:rPr>
              <a:t>VMaaS</a:t>
            </a: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Converged Infrastructure (</a:t>
            </a:r>
            <a:r>
              <a:rPr kumimoji="0" lang="en-US" sz="1000" b="0" i="0" u="none" strike="noStrike" kern="1200" cap="none" spc="0" normalizeH="0" baseline="0" noProof="0" dirty="0" err="1">
                <a:ln>
                  <a:noFill/>
                </a:ln>
                <a:solidFill>
                  <a:srgbClr val="222222"/>
                </a:solidFill>
                <a:effectLst/>
                <a:uLnTx/>
                <a:uFillTx/>
                <a:latin typeface="Neue Haas Grotesk Text Pro" panose="020B0504020202020204" pitchFamily="34" charset="77"/>
                <a:ea typeface="+mn-ea"/>
                <a:cs typeface="+mn-cs"/>
              </a:rPr>
              <a:t>CIaaS</a:t>
            </a: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t>
            </a:r>
          </a:p>
        </p:txBody>
      </p:sp>
      <p:sp>
        <p:nvSpPr>
          <p:cNvPr id="18" name="Rectangle 17">
            <a:extLst>
              <a:ext uri="{FF2B5EF4-FFF2-40B4-BE49-F238E27FC236}">
                <a16:creationId xmlns:a16="http://schemas.microsoft.com/office/drawing/2014/main" id="{7F19A1D5-7627-9B46-F397-A5989FD6A227}"/>
              </a:ext>
            </a:extLst>
          </p:cNvPr>
          <p:cNvSpPr/>
          <p:nvPr/>
        </p:nvSpPr>
        <p:spPr>
          <a:xfrm>
            <a:off x="2957574" y="1346997"/>
            <a:ext cx="5963226" cy="1367005"/>
          </a:xfrm>
          <a:prstGeom prst="rect">
            <a:avLst/>
          </a:prstGeom>
          <a:solidFill>
            <a:srgbClr val="E5E7F3"/>
          </a:solidFill>
          <a:ln w="19050">
            <a:solidFill>
              <a:srgbClr val="4B58A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CC0000"/>
              </a:solidFill>
              <a:effectLst/>
              <a:uLnTx/>
              <a:uFillTx/>
              <a:latin typeface="Neue Haas Grotesk Text Pro" panose="020B0504020202020204" pitchFamily="34" charset="77"/>
              <a:ea typeface="+mn-ea"/>
              <a:cs typeface="+mn-cs"/>
            </a:endParaRPr>
          </a:p>
        </p:txBody>
      </p:sp>
      <p:sp>
        <p:nvSpPr>
          <p:cNvPr id="19" name="TextBox 18">
            <a:extLst>
              <a:ext uri="{FF2B5EF4-FFF2-40B4-BE49-F238E27FC236}">
                <a16:creationId xmlns:a16="http://schemas.microsoft.com/office/drawing/2014/main" id="{7235FAB9-F23B-B65E-9022-A4192B84BA40}"/>
              </a:ext>
            </a:extLst>
          </p:cNvPr>
          <p:cNvSpPr txBox="1"/>
          <p:nvPr/>
        </p:nvSpPr>
        <p:spPr>
          <a:xfrm>
            <a:off x="3095472" y="1432903"/>
            <a:ext cx="2491728" cy="166199"/>
          </a:xfrm>
          <a:prstGeom prst="rect">
            <a:avLst/>
          </a:prstGeom>
          <a:noFill/>
        </p:spPr>
        <p:txBody>
          <a:bodyPr wrap="square" lIns="0" tIns="0" rIns="0" bIns="0" rtlCol="0" anchor="t">
            <a:spAutoFit/>
          </a:bodyPr>
          <a:lstStyle/>
          <a:p>
            <a:pPr marL="0" marR="0" lvl="0" indent="0" algn="l" defTabSz="685766" rtl="0" eaLnBrk="1" fontAlgn="auto" latinLnBrk="0" hangingPunct="1">
              <a:lnSpc>
                <a:spcPct val="90000"/>
              </a:lnSpc>
              <a:spcBef>
                <a:spcPts val="450"/>
              </a:spcBef>
              <a:spcAft>
                <a:spcPts val="0"/>
              </a:spcAft>
              <a:buClrTx/>
              <a:buSzTx/>
              <a:buFontTx/>
              <a:buNone/>
              <a:tabLst/>
              <a:defRPr/>
            </a:pPr>
            <a:r>
              <a:rPr kumimoji="0" lang="en-US" sz="1200" b="1" i="0" u="none" strike="noStrike" kern="1200" cap="none" spc="0" normalizeH="0" baseline="0" noProof="0">
                <a:ln>
                  <a:noFill/>
                </a:ln>
                <a:solidFill>
                  <a:srgbClr val="4B58A2"/>
                </a:solidFill>
                <a:effectLst/>
                <a:uLnTx/>
                <a:uFillTx/>
                <a:latin typeface="Neue Haas Grotesk Text Pro"/>
                <a:ea typeface="+mn-ea"/>
                <a:cs typeface="+mn-cs"/>
              </a:rPr>
              <a:t>EverFlex Infrastructure Solutions</a:t>
            </a:r>
          </a:p>
        </p:txBody>
      </p:sp>
      <p:sp>
        <p:nvSpPr>
          <p:cNvPr id="20" name="Rectángulo 4">
            <a:extLst>
              <a:ext uri="{FF2B5EF4-FFF2-40B4-BE49-F238E27FC236}">
                <a16:creationId xmlns:a16="http://schemas.microsoft.com/office/drawing/2014/main" id="{10895869-09EF-84AB-BB3C-008985754203}"/>
              </a:ext>
            </a:extLst>
          </p:cNvPr>
          <p:cNvSpPr/>
          <p:nvPr/>
        </p:nvSpPr>
        <p:spPr>
          <a:xfrm>
            <a:off x="6506571" y="1440674"/>
            <a:ext cx="1930294" cy="1191816"/>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378" rtl="0" eaLnBrk="1" fontAlgn="auto" latinLnBrk="0" hangingPunct="1">
              <a:lnSpc>
                <a:spcPct val="100000"/>
              </a:lnSpc>
              <a:spcBef>
                <a:spcPts val="0"/>
              </a:spcBef>
              <a:spcAft>
                <a:spcPts val="600"/>
              </a:spcAft>
              <a:buClr>
                <a:srgbClr val="CC0000"/>
              </a:buClr>
              <a:buSzTx/>
              <a:buFontTx/>
              <a:buNone/>
              <a:tabLst/>
              <a:defRPr/>
            </a:pPr>
            <a:r>
              <a:rPr kumimoji="0" lang="en-US" sz="10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Professional Services </a:t>
            </a:r>
          </a:p>
          <a:p>
            <a:pPr marL="0" marR="0" lvl="0" indent="0" algn="ctr" defTabSz="914378" rtl="0" eaLnBrk="1" fontAlgn="auto" latinLnBrk="0" hangingPunct="1">
              <a:lnSpc>
                <a:spcPct val="100000"/>
              </a:lnSpc>
              <a:spcBef>
                <a:spcPts val="0"/>
              </a:spcBef>
              <a:spcAft>
                <a:spcPts val="600"/>
              </a:spcAft>
              <a:buClr>
                <a:srgbClr val="CC0000"/>
              </a:buClr>
              <a:buSzTx/>
              <a:buFontTx/>
              <a:buNone/>
              <a:tabLst/>
              <a:defRPr/>
            </a:pPr>
            <a:r>
              <a:rPr kumimoji="0" lang="en-US" sz="10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Vertical Blueprints</a:t>
            </a:r>
          </a:p>
          <a:p>
            <a:pPr marL="0" marR="0" lvl="0" indent="0" algn="ctr" defTabSz="914378" rtl="0" eaLnBrk="1" fontAlgn="auto" latinLnBrk="0" hangingPunct="1">
              <a:lnSpc>
                <a:spcPct val="100000"/>
              </a:lnSpc>
              <a:spcBef>
                <a:spcPts val="0"/>
              </a:spcBef>
              <a:spcAft>
                <a:spcPts val="600"/>
              </a:spcAft>
              <a:buClr>
                <a:srgbClr val="CC0000"/>
              </a:buClr>
              <a:buSzTx/>
              <a:buFontTx/>
              <a:buNone/>
              <a:tabLst/>
              <a:defRPr/>
            </a:pPr>
            <a:r>
              <a:rPr kumimoji="0" lang="en-US" sz="10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Orchestration Workflows</a:t>
            </a:r>
          </a:p>
          <a:p>
            <a:pPr marL="0" marR="0" lvl="0" indent="0" algn="ctr" defTabSz="914378" rtl="0" eaLnBrk="1" fontAlgn="auto" latinLnBrk="0" hangingPunct="1">
              <a:lnSpc>
                <a:spcPct val="100000"/>
              </a:lnSpc>
              <a:spcBef>
                <a:spcPts val="0"/>
              </a:spcBef>
              <a:spcAft>
                <a:spcPts val="600"/>
              </a:spcAft>
              <a:buClr>
                <a:srgbClr val="CC0000"/>
              </a:buClr>
              <a:buSzTx/>
              <a:buFontTx/>
              <a:buNone/>
              <a:tabLst/>
              <a:defRPr/>
            </a:pPr>
            <a:r>
              <a:rPr kumimoji="0" lang="en-US" sz="10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Automations Workflows</a:t>
            </a:r>
          </a:p>
          <a:p>
            <a:pPr marL="0" marR="0" lvl="0" indent="0" algn="ctr" defTabSz="914378" rtl="0" eaLnBrk="1" fontAlgn="auto" latinLnBrk="0" hangingPunct="1">
              <a:lnSpc>
                <a:spcPct val="100000"/>
              </a:lnSpc>
              <a:spcBef>
                <a:spcPts val="0"/>
              </a:spcBef>
              <a:spcAft>
                <a:spcPts val="600"/>
              </a:spcAft>
              <a:buClr>
                <a:srgbClr val="CC0000"/>
              </a:buClr>
              <a:buSzTx/>
              <a:buFontTx/>
              <a:buNone/>
              <a:tabLst/>
              <a:defRPr/>
            </a:pPr>
            <a:r>
              <a:rPr kumimoji="0" lang="en-US" sz="1000" b="0" i="0" u="none" strike="noStrike" kern="1200" cap="none" spc="0" normalizeH="0" baseline="0" noProof="0">
                <a:ln>
                  <a:noFill/>
                </a:ln>
                <a:solidFill>
                  <a:srgbClr val="222222"/>
                </a:solidFill>
                <a:effectLst/>
                <a:uLnTx/>
                <a:uFillTx/>
                <a:latin typeface="Neue Haas Grotesk Text Pro" panose="020B0504020202020204" pitchFamily="34" charset="77"/>
                <a:ea typeface="+mn-ea"/>
                <a:cs typeface="+mn-cs"/>
              </a:rPr>
              <a:t>Project Resources and Mgt</a:t>
            </a:r>
          </a:p>
        </p:txBody>
      </p:sp>
      <p:grpSp>
        <p:nvGrpSpPr>
          <p:cNvPr id="42" name="Group 41">
            <a:extLst>
              <a:ext uri="{FF2B5EF4-FFF2-40B4-BE49-F238E27FC236}">
                <a16:creationId xmlns:a16="http://schemas.microsoft.com/office/drawing/2014/main" id="{096803F1-7282-281C-3F7F-93E159B62883}"/>
              </a:ext>
            </a:extLst>
          </p:cNvPr>
          <p:cNvGrpSpPr/>
          <p:nvPr/>
        </p:nvGrpSpPr>
        <p:grpSpPr>
          <a:xfrm>
            <a:off x="8481946" y="1346997"/>
            <a:ext cx="438142" cy="406666"/>
            <a:chOff x="11146061" y="2218395"/>
            <a:chExt cx="584189" cy="542221"/>
          </a:xfrm>
        </p:grpSpPr>
        <p:sp>
          <p:nvSpPr>
            <p:cNvPr id="43" name="Freeform: Shape 42">
              <a:extLst>
                <a:ext uri="{FF2B5EF4-FFF2-40B4-BE49-F238E27FC236}">
                  <a16:creationId xmlns:a16="http://schemas.microsoft.com/office/drawing/2014/main" id="{F541B264-3499-7B2F-63F5-DFBDE9E900CD}"/>
                </a:ext>
              </a:extLst>
            </p:cNvPr>
            <p:cNvSpPr/>
            <p:nvPr/>
          </p:nvSpPr>
          <p:spPr>
            <a:xfrm>
              <a:off x="11146061" y="2218395"/>
              <a:ext cx="584189" cy="542221"/>
            </a:xfrm>
            <a:custGeom>
              <a:avLst/>
              <a:gdLst>
                <a:gd name="connsiteX0" fmla="*/ 11068 w 441399"/>
                <a:gd name="connsiteY0" fmla="*/ 0 h 406666"/>
                <a:gd name="connsiteX1" fmla="*/ 441399 w 441399"/>
                <a:gd name="connsiteY1" fmla="*/ 0 h 406666"/>
                <a:gd name="connsiteX2" fmla="*/ 441399 w 441399"/>
                <a:gd name="connsiteY2" fmla="*/ 384817 h 406666"/>
                <a:gd name="connsiteX3" fmla="*/ 392387 w 441399"/>
                <a:gd name="connsiteY3" fmla="*/ 400031 h 406666"/>
                <a:gd name="connsiteX4" fmla="*/ 326571 w 441399"/>
                <a:gd name="connsiteY4" fmla="*/ 406666 h 406666"/>
                <a:gd name="connsiteX5" fmla="*/ 0 w 441399"/>
                <a:gd name="connsiteY5" fmla="*/ 80095 h 406666"/>
                <a:gd name="connsiteX6" fmla="*/ 6635 w 441399"/>
                <a:gd name="connsiteY6" fmla="*/ 14280 h 40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399" h="406666">
                  <a:moveTo>
                    <a:pt x="11068" y="0"/>
                  </a:moveTo>
                  <a:lnTo>
                    <a:pt x="441399" y="0"/>
                  </a:lnTo>
                  <a:lnTo>
                    <a:pt x="441399" y="384817"/>
                  </a:lnTo>
                  <a:lnTo>
                    <a:pt x="392387" y="400031"/>
                  </a:lnTo>
                  <a:cubicBezTo>
                    <a:pt x="371128" y="404382"/>
                    <a:pt x="349116" y="406666"/>
                    <a:pt x="326571" y="406666"/>
                  </a:cubicBezTo>
                  <a:cubicBezTo>
                    <a:pt x="146211" y="406666"/>
                    <a:pt x="0" y="260455"/>
                    <a:pt x="0" y="80095"/>
                  </a:cubicBezTo>
                  <a:cubicBezTo>
                    <a:pt x="0" y="57550"/>
                    <a:pt x="2285" y="35539"/>
                    <a:pt x="6635" y="14280"/>
                  </a:cubicBezTo>
                  <a:close/>
                </a:path>
              </a:pathLst>
            </a:custGeom>
            <a:solidFill>
              <a:schemeClr val="accent5"/>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Neue Haas Grotesk Text Pro" panose="020B0504020202020204" pitchFamily="34" charset="77"/>
                <a:ea typeface="+mn-ea"/>
                <a:cs typeface="+mn-cs"/>
              </a:endParaRPr>
            </a:p>
          </p:txBody>
        </p:sp>
        <p:pic>
          <p:nvPicPr>
            <p:cNvPr id="44" name="Graphic 43">
              <a:extLst>
                <a:ext uri="{FF2B5EF4-FFF2-40B4-BE49-F238E27FC236}">
                  <a16:creationId xmlns:a16="http://schemas.microsoft.com/office/drawing/2014/main" id="{F1EAB754-6733-D022-953E-00FA3EB7128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22345" y="2308580"/>
              <a:ext cx="235449" cy="324173"/>
            </a:xfrm>
            <a:prstGeom prst="rect">
              <a:avLst/>
            </a:prstGeom>
          </p:spPr>
        </p:pic>
      </p:grpSp>
      <p:pic>
        <p:nvPicPr>
          <p:cNvPr id="45" name="Graphic 44">
            <a:extLst>
              <a:ext uri="{FF2B5EF4-FFF2-40B4-BE49-F238E27FC236}">
                <a16:creationId xmlns:a16="http://schemas.microsoft.com/office/drawing/2014/main" id="{330B40BD-17CD-1840-E260-742D0E97E92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628559" y="2851551"/>
            <a:ext cx="258573" cy="243130"/>
          </a:xfrm>
          <a:prstGeom prst="rect">
            <a:avLst/>
          </a:prstGeom>
        </p:spPr>
      </p:pic>
      <p:sp>
        <p:nvSpPr>
          <p:cNvPr id="46" name="Rectángulo 4">
            <a:extLst>
              <a:ext uri="{FF2B5EF4-FFF2-40B4-BE49-F238E27FC236}">
                <a16:creationId xmlns:a16="http://schemas.microsoft.com/office/drawing/2014/main" id="{406ABE25-6F61-CC38-9A41-1A4895936795}"/>
              </a:ext>
            </a:extLst>
          </p:cNvPr>
          <p:cNvSpPr/>
          <p:nvPr/>
        </p:nvSpPr>
        <p:spPr>
          <a:xfrm>
            <a:off x="3124077" y="1692021"/>
            <a:ext cx="1626847" cy="84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VMware to K8s</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dvanced Observability</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SAP</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Oracle</a:t>
            </a:r>
          </a:p>
        </p:txBody>
      </p:sp>
      <p:sp>
        <p:nvSpPr>
          <p:cNvPr id="47" name="Rectángulo 4">
            <a:extLst>
              <a:ext uri="{FF2B5EF4-FFF2-40B4-BE49-F238E27FC236}">
                <a16:creationId xmlns:a16="http://schemas.microsoft.com/office/drawing/2014/main" id="{3C1B1C61-1B0C-01C4-8583-2AA962284339}"/>
              </a:ext>
            </a:extLst>
          </p:cNvPr>
          <p:cNvSpPr/>
          <p:nvPr/>
        </p:nvSpPr>
        <p:spPr>
          <a:xfrm>
            <a:off x="5014337" y="1692021"/>
            <a:ext cx="1626847" cy="84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AI/ML Workloads</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Hybrid Cloud</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Private Cloud</a:t>
            </a:r>
          </a:p>
          <a:p>
            <a:pPr marL="111125" marR="0" lvl="0" indent="-111125" algn="l" defTabSz="9143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222222"/>
                </a:solidFill>
                <a:effectLst/>
                <a:uLnTx/>
                <a:uFillTx/>
                <a:latin typeface="Neue Haas Grotesk Text Pro" panose="020B0504020202020204" pitchFamily="34" charset="77"/>
                <a:ea typeface="+mn-ea"/>
                <a:cs typeface="+mn-cs"/>
              </a:rPr>
              <a:t>RAG/Training</a:t>
            </a:r>
          </a:p>
        </p:txBody>
      </p:sp>
      <p:sp>
        <p:nvSpPr>
          <p:cNvPr id="48" name="Rectangle 47">
            <a:extLst>
              <a:ext uri="{FF2B5EF4-FFF2-40B4-BE49-F238E27FC236}">
                <a16:creationId xmlns:a16="http://schemas.microsoft.com/office/drawing/2014/main" id="{A1CC8C08-8B8F-65BC-5ADB-7C6B0138F3EE}"/>
              </a:ext>
            </a:extLst>
          </p:cNvPr>
          <p:cNvSpPr>
            <a:spLocks/>
          </p:cNvSpPr>
          <p:nvPr/>
        </p:nvSpPr>
        <p:spPr>
          <a:xfrm>
            <a:off x="0" y="708233"/>
            <a:ext cx="9144000" cy="500138"/>
          </a:xfrm>
          <a:prstGeom prst="rect">
            <a:avLst/>
          </a:prstGeom>
          <a:solidFill>
            <a:schemeClr val="bg1"/>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222222"/>
                </a:solidFill>
                <a:effectLst/>
                <a:uLnTx/>
                <a:uFillTx/>
                <a:latin typeface="Times New Roman" panose="02020603050405020304" pitchFamily="18" charset="0"/>
                <a:ea typeface="+mn-ea"/>
                <a:cs typeface="Times New Roman" panose="02020603050405020304" pitchFamily="18" charset="0"/>
              </a:rPr>
              <a:t>EverFlex is a portfolio of as-a-service and consumption-based offers </a:t>
            </a:r>
            <a:br>
              <a:rPr kumimoji="0" lang="en-US" sz="1400" b="0" i="1" u="none" strike="noStrike" kern="1200" cap="none" spc="0" normalizeH="0" baseline="0" noProof="0" dirty="0">
                <a:ln>
                  <a:noFill/>
                </a:ln>
                <a:solidFill>
                  <a:srgbClr val="222222"/>
                </a:solidFill>
                <a:effectLst/>
                <a:uLnTx/>
                <a:uFillTx/>
                <a:latin typeface="Times New Roman" panose="02020603050405020304" pitchFamily="18" charset="0"/>
                <a:ea typeface="+mn-ea"/>
                <a:cs typeface="Times New Roman" panose="02020603050405020304" pitchFamily="18" charset="0"/>
              </a:rPr>
            </a:br>
            <a:r>
              <a:rPr kumimoji="0" lang="en-US" sz="1400" b="0" i="1" u="none" strike="noStrike" kern="1200" cap="none" spc="0" normalizeH="0" baseline="0" noProof="0" dirty="0">
                <a:ln>
                  <a:noFill/>
                </a:ln>
                <a:solidFill>
                  <a:srgbClr val="222222"/>
                </a:solidFill>
                <a:effectLst/>
                <a:uLnTx/>
                <a:uFillTx/>
                <a:latin typeface="Times New Roman" panose="02020603050405020304" pitchFamily="18" charset="0"/>
                <a:ea typeface="+mn-ea"/>
                <a:cs typeface="Times New Roman" panose="02020603050405020304" pitchFamily="18" charset="0"/>
              </a:rPr>
              <a:t>for workload transformation and hybrid cloud operations</a:t>
            </a:r>
          </a:p>
        </p:txBody>
      </p:sp>
    </p:spTree>
    <p:extLst>
      <p:ext uri="{BB962C8B-B14F-4D97-AF65-F5344CB8AC3E}">
        <p14:creationId xmlns:p14="http://schemas.microsoft.com/office/powerpoint/2010/main" val="23046780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normAutofit/>
          </a:bodyPr>
          <a:lstStyle/>
          <a:p>
            <a:r>
              <a:rPr lang="en-US">
                <a:latin typeface="Neue Haas Grotesk Text Pro" panose="020B0504020202020204" pitchFamily="34" charset="0"/>
              </a:rPr>
              <a:t>Business Outcome Focused</a:t>
            </a:r>
          </a:p>
        </p:txBody>
      </p:sp>
      <p:pic>
        <p:nvPicPr>
          <p:cNvPr id="3" name="Picture 2">
            <a:extLst>
              <a:ext uri="{FF2B5EF4-FFF2-40B4-BE49-F238E27FC236}">
                <a16:creationId xmlns:a16="http://schemas.microsoft.com/office/drawing/2014/main" id="{16C28B76-AB23-2A5D-0CF2-EFCB4D3F61DC}"/>
              </a:ext>
            </a:extLst>
          </p:cNvPr>
          <p:cNvPicPr>
            <a:picLocks noChangeAspect="1"/>
          </p:cNvPicPr>
          <p:nvPr/>
        </p:nvPicPr>
        <p:blipFill rotWithShape="1">
          <a:blip r:embed="rId2"/>
          <a:srcRect l="22653" r="22653"/>
          <a:stretch/>
        </p:blipFill>
        <p:spPr>
          <a:xfrm>
            <a:off x="0" y="1011605"/>
            <a:ext cx="2832100" cy="3454166"/>
          </a:xfrm>
          <a:custGeom>
            <a:avLst/>
            <a:gdLst>
              <a:gd name="connsiteX0" fmla="*/ 0 w 2832100"/>
              <a:gd name="connsiteY0" fmla="*/ 0 h 3454166"/>
              <a:gd name="connsiteX1" fmla="*/ 2832100 w 2832100"/>
              <a:gd name="connsiteY1" fmla="*/ 0 h 3454166"/>
              <a:gd name="connsiteX2" fmla="*/ 2832100 w 2832100"/>
              <a:gd name="connsiteY2" fmla="*/ 3454166 h 3454166"/>
              <a:gd name="connsiteX3" fmla="*/ 0 w 2832100"/>
              <a:gd name="connsiteY3" fmla="*/ 3454166 h 3454166"/>
            </a:gdLst>
            <a:ahLst/>
            <a:cxnLst>
              <a:cxn ang="0">
                <a:pos x="connsiteX0" y="connsiteY0"/>
              </a:cxn>
              <a:cxn ang="0">
                <a:pos x="connsiteX1" y="connsiteY1"/>
              </a:cxn>
              <a:cxn ang="0">
                <a:pos x="connsiteX2" y="connsiteY2"/>
              </a:cxn>
              <a:cxn ang="0">
                <a:pos x="connsiteX3" y="connsiteY3"/>
              </a:cxn>
            </a:cxnLst>
            <a:rect l="l" t="t" r="r" b="b"/>
            <a:pathLst>
              <a:path w="2832100" h="3454166">
                <a:moveTo>
                  <a:pt x="0" y="0"/>
                </a:moveTo>
                <a:lnTo>
                  <a:pt x="2832100" y="0"/>
                </a:lnTo>
                <a:lnTo>
                  <a:pt x="2832100" y="3454166"/>
                </a:lnTo>
                <a:lnTo>
                  <a:pt x="0" y="3454166"/>
                </a:lnTo>
                <a:close/>
              </a:path>
            </a:pathLst>
          </a:custGeom>
        </p:spPr>
      </p:pic>
      <p:sp>
        <p:nvSpPr>
          <p:cNvPr id="4" name="TextBox 3">
            <a:extLst>
              <a:ext uri="{FF2B5EF4-FFF2-40B4-BE49-F238E27FC236}">
                <a16:creationId xmlns:a16="http://schemas.microsoft.com/office/drawing/2014/main" id="{CEA7DA04-CF15-804F-D5A4-64A077FC7AB7}"/>
              </a:ext>
            </a:extLst>
          </p:cNvPr>
          <p:cNvSpPr txBox="1"/>
          <p:nvPr/>
        </p:nvSpPr>
        <p:spPr>
          <a:xfrm>
            <a:off x="3005988" y="4155282"/>
            <a:ext cx="5889850" cy="310490"/>
          </a:xfrm>
          <a:prstGeom prst="roundRect">
            <a:avLst>
              <a:gd name="adj" fmla="val 4743"/>
            </a:avLst>
          </a:prstGeom>
          <a:solidFill>
            <a:srgbClr val="4571B6"/>
          </a:solidFill>
        </p:spPr>
        <p:txBody>
          <a:bodyPr wrap="square" lIns="0" rIns="0" rtlCol="0" anchor="ctr">
            <a:noAutofit/>
          </a:bodyPr>
          <a:lstStyle>
            <a:defPPr>
              <a:defRPr lang="en-US"/>
            </a:defPPr>
            <a:lvl1pPr defTabSz="457169" fontAlgn="base">
              <a:spcBef>
                <a:spcPct val="0"/>
              </a:spcBef>
              <a:spcAft>
                <a:spcPct val="0"/>
              </a:spcAft>
              <a:defRPr sz="1200">
                <a:solidFill>
                  <a:srgbClr val="0D274D"/>
                </a:solidFill>
                <a:latin typeface="CiscoSansTT Light"/>
                <a:ea typeface="ＭＳ Ｐゴシック" charset="0"/>
              </a:defRPr>
            </a:lvl1pPr>
          </a:lstStyle>
          <a:p>
            <a:pPr marL="0" marR="0" lvl="0" indent="0" algn="ctr" defTabSz="45716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eue Haas Grotesk Text Pro" panose="020B0504020202020204" pitchFamily="34" charset="0"/>
                <a:ea typeface="ＭＳ Ｐゴシック" charset="0"/>
                <a:cs typeface="+mn-cs"/>
              </a:rPr>
              <a:t> Predictable and Flexible pricing</a:t>
            </a:r>
          </a:p>
        </p:txBody>
      </p:sp>
      <p:sp>
        <p:nvSpPr>
          <p:cNvPr id="5" name="Rectangle 4">
            <a:extLst>
              <a:ext uri="{FF2B5EF4-FFF2-40B4-BE49-F238E27FC236}">
                <a16:creationId xmlns:a16="http://schemas.microsoft.com/office/drawing/2014/main" id="{D261A100-4EEF-7254-0BF2-D3B1915866FD}"/>
              </a:ext>
            </a:extLst>
          </p:cNvPr>
          <p:cNvSpPr/>
          <p:nvPr/>
        </p:nvSpPr>
        <p:spPr>
          <a:xfrm>
            <a:off x="0" y="1011605"/>
            <a:ext cx="2832100" cy="3454166"/>
          </a:xfrm>
          <a:prstGeom prst="rect">
            <a:avLst/>
          </a:prstGeom>
          <a:solidFill>
            <a:schemeClr val="tx1">
              <a:alpha val="84000"/>
            </a:schemeClr>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6" name="object 13">
            <a:extLst>
              <a:ext uri="{FF2B5EF4-FFF2-40B4-BE49-F238E27FC236}">
                <a16:creationId xmlns:a16="http://schemas.microsoft.com/office/drawing/2014/main" id="{23A4D132-72E2-6EF3-886B-C41DACC456B8}"/>
              </a:ext>
            </a:extLst>
          </p:cNvPr>
          <p:cNvSpPr/>
          <p:nvPr/>
        </p:nvSpPr>
        <p:spPr>
          <a:xfrm>
            <a:off x="3005988" y="1011605"/>
            <a:ext cx="2857981" cy="1476254"/>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7" name="object 15">
            <a:extLst>
              <a:ext uri="{FF2B5EF4-FFF2-40B4-BE49-F238E27FC236}">
                <a16:creationId xmlns:a16="http://schemas.microsoft.com/office/drawing/2014/main" id="{2B002173-A7E1-817F-2624-5DE6EDFC4317}"/>
              </a:ext>
            </a:extLst>
          </p:cNvPr>
          <p:cNvSpPr/>
          <p:nvPr/>
        </p:nvSpPr>
        <p:spPr>
          <a:xfrm>
            <a:off x="6037857" y="1011605"/>
            <a:ext cx="2857981" cy="1476254"/>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8" name="object 13">
            <a:extLst>
              <a:ext uri="{FF2B5EF4-FFF2-40B4-BE49-F238E27FC236}">
                <a16:creationId xmlns:a16="http://schemas.microsoft.com/office/drawing/2014/main" id="{E7265655-957E-9AD9-B0E6-027578331B42}"/>
              </a:ext>
            </a:extLst>
          </p:cNvPr>
          <p:cNvSpPr/>
          <p:nvPr/>
        </p:nvSpPr>
        <p:spPr>
          <a:xfrm>
            <a:off x="3005988" y="2598231"/>
            <a:ext cx="2857981" cy="1476254"/>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9" name="object 15">
            <a:extLst>
              <a:ext uri="{FF2B5EF4-FFF2-40B4-BE49-F238E27FC236}">
                <a16:creationId xmlns:a16="http://schemas.microsoft.com/office/drawing/2014/main" id="{0BEAC267-8A95-6F67-A8D4-7A9791055845}"/>
              </a:ext>
            </a:extLst>
          </p:cNvPr>
          <p:cNvSpPr/>
          <p:nvPr/>
        </p:nvSpPr>
        <p:spPr>
          <a:xfrm>
            <a:off x="6037857" y="2598231"/>
            <a:ext cx="2857981" cy="1476254"/>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10" name="TextBox 9">
            <a:extLst>
              <a:ext uri="{FF2B5EF4-FFF2-40B4-BE49-F238E27FC236}">
                <a16:creationId xmlns:a16="http://schemas.microsoft.com/office/drawing/2014/main" id="{05A41D1B-AC13-E516-B3C3-FF9028263DB1}"/>
              </a:ext>
            </a:extLst>
          </p:cNvPr>
          <p:cNvSpPr txBox="1"/>
          <p:nvPr/>
        </p:nvSpPr>
        <p:spPr>
          <a:xfrm>
            <a:off x="3569357" y="1868104"/>
            <a:ext cx="1731243" cy="284693"/>
          </a:xfrm>
          <a:prstGeom prst="rect">
            <a:avLst/>
          </a:prstGeom>
          <a:noFill/>
        </p:spPr>
        <p:txBody>
          <a:bodyPr wrap="none" lIns="0" tIns="34290" rIns="0" bIns="34290" rtlCol="0" anchor="t">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a:cs typeface="+mn-cs"/>
              </a:rPr>
              <a:t>Faster time to value</a:t>
            </a:r>
          </a:p>
        </p:txBody>
      </p:sp>
      <p:sp>
        <p:nvSpPr>
          <p:cNvPr id="11" name="TextBox 10">
            <a:extLst>
              <a:ext uri="{FF2B5EF4-FFF2-40B4-BE49-F238E27FC236}">
                <a16:creationId xmlns:a16="http://schemas.microsoft.com/office/drawing/2014/main" id="{789D2D49-3199-F42B-24F8-BF29AD9D4D6A}"/>
              </a:ext>
            </a:extLst>
          </p:cNvPr>
          <p:cNvSpPr txBox="1"/>
          <p:nvPr/>
        </p:nvSpPr>
        <p:spPr>
          <a:xfrm>
            <a:off x="6451345" y="1868104"/>
            <a:ext cx="2031005" cy="284693"/>
          </a:xfrm>
          <a:prstGeom prst="rect">
            <a:avLst/>
          </a:prstGeom>
          <a:noFill/>
        </p:spPr>
        <p:txBody>
          <a:bodyPr wrap="none" lIns="0" tIns="34290" rIns="0" bIns="34290" rtlCol="0" anchor="t">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a:cs typeface="+mn-cs"/>
              </a:rPr>
              <a:t>Skills and resource gap</a:t>
            </a:r>
          </a:p>
        </p:txBody>
      </p:sp>
      <p:sp>
        <p:nvSpPr>
          <p:cNvPr id="12" name="TextBox 11">
            <a:extLst>
              <a:ext uri="{FF2B5EF4-FFF2-40B4-BE49-F238E27FC236}">
                <a16:creationId xmlns:a16="http://schemas.microsoft.com/office/drawing/2014/main" id="{FD293999-FB70-9405-5546-D055583DBD3E}"/>
              </a:ext>
            </a:extLst>
          </p:cNvPr>
          <p:cNvSpPr txBox="1"/>
          <p:nvPr/>
        </p:nvSpPr>
        <p:spPr>
          <a:xfrm>
            <a:off x="6345546" y="3431646"/>
            <a:ext cx="2242602" cy="307777"/>
          </a:xfrm>
          <a:prstGeom prst="rect">
            <a:avLst/>
          </a:prstGeom>
          <a:noFill/>
        </p:spPr>
        <p:txBody>
          <a:bodyPr wrap="none" lIns="0" rIns="0" rtlCol="0">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charset="0"/>
                <a:cs typeface="+mn-cs"/>
              </a:rPr>
              <a:t>Outcome-based solutions</a:t>
            </a:r>
          </a:p>
        </p:txBody>
      </p:sp>
      <p:sp>
        <p:nvSpPr>
          <p:cNvPr id="13" name="TextBox 12">
            <a:extLst>
              <a:ext uri="{FF2B5EF4-FFF2-40B4-BE49-F238E27FC236}">
                <a16:creationId xmlns:a16="http://schemas.microsoft.com/office/drawing/2014/main" id="{43847443-8DC7-72A8-2E59-62FB96175AB7}"/>
              </a:ext>
            </a:extLst>
          </p:cNvPr>
          <p:cNvSpPr txBox="1"/>
          <p:nvPr/>
        </p:nvSpPr>
        <p:spPr>
          <a:xfrm>
            <a:off x="3664735" y="3454730"/>
            <a:ext cx="1540486" cy="284693"/>
          </a:xfrm>
          <a:prstGeom prst="rect">
            <a:avLst/>
          </a:prstGeom>
          <a:noFill/>
        </p:spPr>
        <p:txBody>
          <a:bodyPr wrap="none" lIns="0" tIns="34290" rIns="0" bIns="34290" rtlCol="0" anchor="t">
            <a:spAutoFit/>
          </a:bodyPr>
          <a:lstStyle/>
          <a:p>
            <a:pPr marL="0" marR="0" lvl="0" indent="0" algn="l" defTabSz="45716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2222"/>
                </a:solidFill>
                <a:effectLst/>
                <a:uLnTx/>
                <a:uFillTx/>
                <a:latin typeface="Neue Haas Grotesk Text Pro" panose="020B0504020202020204" pitchFamily="34" charset="0"/>
                <a:ea typeface="ＭＳ Ｐゴシック"/>
                <a:cs typeface="+mn-cs"/>
              </a:rPr>
              <a:t>Guaranteed SLAs</a:t>
            </a:r>
          </a:p>
        </p:txBody>
      </p:sp>
      <p:sp>
        <p:nvSpPr>
          <p:cNvPr id="14" name="Rectangle 13">
            <a:extLst>
              <a:ext uri="{FF2B5EF4-FFF2-40B4-BE49-F238E27FC236}">
                <a16:creationId xmlns:a16="http://schemas.microsoft.com/office/drawing/2014/main" id="{26363A46-3DB7-4D2B-E928-163E5F98B66D}"/>
              </a:ext>
            </a:extLst>
          </p:cNvPr>
          <p:cNvSpPr/>
          <p:nvPr/>
        </p:nvSpPr>
        <p:spPr>
          <a:xfrm>
            <a:off x="3005988" y="1011605"/>
            <a:ext cx="2857981"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5" name="Flowchart: Delay 14">
            <a:extLst>
              <a:ext uri="{FF2B5EF4-FFF2-40B4-BE49-F238E27FC236}">
                <a16:creationId xmlns:a16="http://schemas.microsoft.com/office/drawing/2014/main" id="{7BE24DD3-BDC3-210C-3EC3-90076459C5B7}"/>
              </a:ext>
            </a:extLst>
          </p:cNvPr>
          <p:cNvSpPr/>
          <p:nvPr/>
        </p:nvSpPr>
        <p:spPr>
          <a:xfrm rot="5400000">
            <a:off x="4181818" y="1011605"/>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6" name="Rectangle 15">
            <a:extLst>
              <a:ext uri="{FF2B5EF4-FFF2-40B4-BE49-F238E27FC236}">
                <a16:creationId xmlns:a16="http://schemas.microsoft.com/office/drawing/2014/main" id="{C9D5D96C-1A13-6887-9A2C-7535147F3242}"/>
              </a:ext>
            </a:extLst>
          </p:cNvPr>
          <p:cNvSpPr/>
          <p:nvPr/>
        </p:nvSpPr>
        <p:spPr>
          <a:xfrm>
            <a:off x="6037857" y="1011605"/>
            <a:ext cx="2857981"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7" name="Flowchart: Delay 16">
            <a:extLst>
              <a:ext uri="{FF2B5EF4-FFF2-40B4-BE49-F238E27FC236}">
                <a16:creationId xmlns:a16="http://schemas.microsoft.com/office/drawing/2014/main" id="{16AB8816-1506-E1BA-6BE1-069EC6E5A8E2}"/>
              </a:ext>
            </a:extLst>
          </p:cNvPr>
          <p:cNvSpPr/>
          <p:nvPr/>
        </p:nvSpPr>
        <p:spPr>
          <a:xfrm rot="5400000">
            <a:off x="7213687" y="1011605"/>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8" name="Rectangle 17">
            <a:extLst>
              <a:ext uri="{FF2B5EF4-FFF2-40B4-BE49-F238E27FC236}">
                <a16:creationId xmlns:a16="http://schemas.microsoft.com/office/drawing/2014/main" id="{D752CE14-4744-63EA-94A1-B328F2D29547}"/>
              </a:ext>
            </a:extLst>
          </p:cNvPr>
          <p:cNvSpPr/>
          <p:nvPr/>
        </p:nvSpPr>
        <p:spPr>
          <a:xfrm>
            <a:off x="3005988" y="2598231"/>
            <a:ext cx="2857981"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1" name="Rectangle 40">
            <a:extLst>
              <a:ext uri="{FF2B5EF4-FFF2-40B4-BE49-F238E27FC236}">
                <a16:creationId xmlns:a16="http://schemas.microsoft.com/office/drawing/2014/main" id="{24AB898D-2F02-589F-122C-464DB3CCFFD5}"/>
              </a:ext>
            </a:extLst>
          </p:cNvPr>
          <p:cNvSpPr/>
          <p:nvPr/>
        </p:nvSpPr>
        <p:spPr>
          <a:xfrm>
            <a:off x="6037857" y="2598231"/>
            <a:ext cx="2857981"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2" name="Flowchart: Delay 41">
            <a:extLst>
              <a:ext uri="{FF2B5EF4-FFF2-40B4-BE49-F238E27FC236}">
                <a16:creationId xmlns:a16="http://schemas.microsoft.com/office/drawing/2014/main" id="{A8837A26-3B5C-12B9-C008-23F37C74E97E}"/>
              </a:ext>
            </a:extLst>
          </p:cNvPr>
          <p:cNvSpPr/>
          <p:nvPr/>
        </p:nvSpPr>
        <p:spPr>
          <a:xfrm rot="5400000">
            <a:off x="4181818" y="2598231"/>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3" name="Flowchart: Delay 42">
            <a:extLst>
              <a:ext uri="{FF2B5EF4-FFF2-40B4-BE49-F238E27FC236}">
                <a16:creationId xmlns:a16="http://schemas.microsoft.com/office/drawing/2014/main" id="{7986B167-B20E-0B84-A67F-FA80BD521289}"/>
              </a:ext>
            </a:extLst>
          </p:cNvPr>
          <p:cNvSpPr/>
          <p:nvPr/>
        </p:nvSpPr>
        <p:spPr>
          <a:xfrm rot="5400000">
            <a:off x="7213687" y="2598231"/>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4" name="Freeform 12">
            <a:extLst>
              <a:ext uri="{FF2B5EF4-FFF2-40B4-BE49-F238E27FC236}">
                <a16:creationId xmlns:a16="http://schemas.microsoft.com/office/drawing/2014/main" id="{A78FF01C-6B01-C73D-4BBE-6182186FC6E7}"/>
              </a:ext>
            </a:extLst>
          </p:cNvPr>
          <p:cNvSpPr/>
          <p:nvPr/>
        </p:nvSpPr>
        <p:spPr>
          <a:xfrm>
            <a:off x="4288979" y="1112749"/>
            <a:ext cx="291998" cy="335762"/>
          </a:xfrm>
          <a:custGeom>
            <a:avLst/>
            <a:gdLst>
              <a:gd name="connsiteX0" fmla="*/ 438319 w 509349"/>
              <a:gd name="connsiteY0" fmla="*/ 154496 h 585692"/>
              <a:gd name="connsiteX1" fmla="*/ 455273 w 509349"/>
              <a:gd name="connsiteY1" fmla="*/ 137541 h 585692"/>
              <a:gd name="connsiteX2" fmla="*/ 470704 w 509349"/>
              <a:gd name="connsiteY2" fmla="*/ 152972 h 585692"/>
              <a:gd name="connsiteX3" fmla="*/ 480800 w 509349"/>
              <a:gd name="connsiteY3" fmla="*/ 142875 h 585692"/>
              <a:gd name="connsiteX4" fmla="*/ 439843 w 509349"/>
              <a:gd name="connsiteY4" fmla="*/ 101918 h 585692"/>
              <a:gd name="connsiteX5" fmla="*/ 429746 w 509349"/>
              <a:gd name="connsiteY5" fmla="*/ 112014 h 585692"/>
              <a:gd name="connsiteX6" fmla="*/ 445177 w 509349"/>
              <a:gd name="connsiteY6" fmla="*/ 127444 h 585692"/>
              <a:gd name="connsiteX7" fmla="*/ 428127 w 509349"/>
              <a:gd name="connsiteY7" fmla="*/ 144494 h 585692"/>
              <a:gd name="connsiteX8" fmla="*/ 280870 w 509349"/>
              <a:gd name="connsiteY8" fmla="*/ 77724 h 585692"/>
              <a:gd name="connsiteX9" fmla="*/ 280870 w 509349"/>
              <a:gd name="connsiteY9" fmla="*/ 52388 h 585692"/>
              <a:gd name="connsiteX10" fmla="*/ 292777 w 509349"/>
              <a:gd name="connsiteY10" fmla="*/ 52388 h 585692"/>
              <a:gd name="connsiteX11" fmla="*/ 318970 w 509349"/>
              <a:gd name="connsiteY11" fmla="*/ 26194 h 585692"/>
              <a:gd name="connsiteX12" fmla="*/ 292777 w 509349"/>
              <a:gd name="connsiteY12" fmla="*/ 0 h 585692"/>
              <a:gd name="connsiteX13" fmla="*/ 216577 w 509349"/>
              <a:gd name="connsiteY13" fmla="*/ 0 h 585692"/>
              <a:gd name="connsiteX14" fmla="*/ 190383 w 509349"/>
              <a:gd name="connsiteY14" fmla="*/ 26194 h 585692"/>
              <a:gd name="connsiteX15" fmla="*/ 216577 w 509349"/>
              <a:gd name="connsiteY15" fmla="*/ 52388 h 585692"/>
              <a:gd name="connsiteX16" fmla="*/ 228483 w 509349"/>
              <a:gd name="connsiteY16" fmla="*/ 52388 h 585692"/>
              <a:gd name="connsiteX17" fmla="*/ 228483 w 509349"/>
              <a:gd name="connsiteY17" fmla="*/ 77724 h 585692"/>
              <a:gd name="connsiteX18" fmla="*/ 79131 w 509349"/>
              <a:gd name="connsiteY18" fmla="*/ 146494 h 585692"/>
              <a:gd name="connsiteX19" fmla="*/ 62367 w 509349"/>
              <a:gd name="connsiteY19" fmla="*/ 129731 h 585692"/>
              <a:gd name="connsiteX20" fmla="*/ 77797 w 509349"/>
              <a:gd name="connsiteY20" fmla="*/ 114300 h 585692"/>
              <a:gd name="connsiteX21" fmla="*/ 67701 w 509349"/>
              <a:gd name="connsiteY21" fmla="*/ 104204 h 585692"/>
              <a:gd name="connsiteX22" fmla="*/ 26743 w 509349"/>
              <a:gd name="connsiteY22" fmla="*/ 145161 h 585692"/>
              <a:gd name="connsiteX23" fmla="*/ 36840 w 509349"/>
              <a:gd name="connsiteY23" fmla="*/ 155258 h 585692"/>
              <a:gd name="connsiteX24" fmla="*/ 52270 w 509349"/>
              <a:gd name="connsiteY24" fmla="*/ 139827 h 585692"/>
              <a:gd name="connsiteX25" fmla="*/ 69034 w 509349"/>
              <a:gd name="connsiteY25" fmla="*/ 156591 h 585692"/>
              <a:gd name="connsiteX26" fmla="*/ 74464 w 509349"/>
              <a:gd name="connsiteY26" fmla="*/ 511207 h 585692"/>
              <a:gd name="connsiteX27" fmla="*/ 254677 w 509349"/>
              <a:gd name="connsiteY27" fmla="*/ 585692 h 585692"/>
              <a:gd name="connsiteX28" fmla="*/ 434890 w 509349"/>
              <a:gd name="connsiteY28" fmla="*/ 511207 h 585692"/>
              <a:gd name="connsiteX29" fmla="*/ 438414 w 509349"/>
              <a:gd name="connsiteY29" fmla="*/ 154496 h 585692"/>
              <a:gd name="connsiteX30" fmla="*/ 216577 w 509349"/>
              <a:gd name="connsiteY30" fmla="*/ 38100 h 585692"/>
              <a:gd name="connsiteX31" fmla="*/ 204670 w 509349"/>
              <a:gd name="connsiteY31" fmla="*/ 26194 h 585692"/>
              <a:gd name="connsiteX32" fmla="*/ 216577 w 509349"/>
              <a:gd name="connsiteY32" fmla="*/ 14288 h 585692"/>
              <a:gd name="connsiteX33" fmla="*/ 292777 w 509349"/>
              <a:gd name="connsiteY33" fmla="*/ 14288 h 585692"/>
              <a:gd name="connsiteX34" fmla="*/ 304683 w 509349"/>
              <a:gd name="connsiteY34" fmla="*/ 26194 h 585692"/>
              <a:gd name="connsiteX35" fmla="*/ 292777 w 509349"/>
              <a:gd name="connsiteY35" fmla="*/ 38100 h 585692"/>
              <a:gd name="connsiteX36" fmla="*/ 216577 w 509349"/>
              <a:gd name="connsiteY36" fmla="*/ 38100 h 585692"/>
              <a:gd name="connsiteX37" fmla="*/ 242770 w 509349"/>
              <a:gd name="connsiteY37" fmla="*/ 52388 h 585692"/>
              <a:gd name="connsiteX38" fmla="*/ 266583 w 509349"/>
              <a:gd name="connsiteY38" fmla="*/ 52388 h 585692"/>
              <a:gd name="connsiteX39" fmla="*/ 266583 w 509349"/>
              <a:gd name="connsiteY39" fmla="*/ 76581 h 585692"/>
              <a:gd name="connsiteX40" fmla="*/ 242770 w 509349"/>
              <a:gd name="connsiteY40" fmla="*/ 76581 h 585692"/>
              <a:gd name="connsiteX41" fmla="*/ 242770 w 509349"/>
              <a:gd name="connsiteY41" fmla="*/ 52388 h 585692"/>
              <a:gd name="connsiteX42" fmla="*/ 424698 w 509349"/>
              <a:gd name="connsiteY42" fmla="*/ 501015 h 585692"/>
              <a:gd name="connsiteX43" fmla="*/ 84560 w 509349"/>
              <a:gd name="connsiteY43" fmla="*/ 501015 h 585692"/>
              <a:gd name="connsiteX44" fmla="*/ 84560 w 509349"/>
              <a:gd name="connsiteY44" fmla="*/ 160877 h 585692"/>
              <a:gd name="connsiteX45" fmla="*/ 254581 w 509349"/>
              <a:gd name="connsiteY45" fmla="*/ 90583 h 585692"/>
              <a:gd name="connsiteX46" fmla="*/ 424603 w 509349"/>
              <a:gd name="connsiteY46" fmla="*/ 160877 h 585692"/>
              <a:gd name="connsiteX47" fmla="*/ 424603 w 509349"/>
              <a:gd name="connsiteY47" fmla="*/ 501015 h 585692"/>
              <a:gd name="connsiteX48" fmla="*/ 407839 w 509349"/>
              <a:gd name="connsiteY48" fmla="*/ 177737 h 585692"/>
              <a:gd name="connsiteX49" fmla="*/ 101419 w 509349"/>
              <a:gd name="connsiteY49" fmla="*/ 177737 h 585692"/>
              <a:gd name="connsiteX50" fmla="*/ 101419 w 509349"/>
              <a:gd name="connsiteY50" fmla="*/ 484156 h 585692"/>
              <a:gd name="connsiteX51" fmla="*/ 254677 w 509349"/>
              <a:gd name="connsiteY51" fmla="*/ 547497 h 585692"/>
              <a:gd name="connsiteX52" fmla="*/ 407934 w 509349"/>
              <a:gd name="connsiteY52" fmla="*/ 484156 h 585692"/>
              <a:gd name="connsiteX53" fmla="*/ 407934 w 509349"/>
              <a:gd name="connsiteY53" fmla="*/ 177737 h 585692"/>
              <a:gd name="connsiteX54" fmla="*/ 397742 w 509349"/>
              <a:gd name="connsiteY54" fmla="*/ 474059 h 585692"/>
              <a:gd name="connsiteX55" fmla="*/ 111516 w 509349"/>
              <a:gd name="connsiteY55" fmla="*/ 474059 h 585692"/>
              <a:gd name="connsiteX56" fmla="*/ 111516 w 509349"/>
              <a:gd name="connsiteY56" fmla="*/ 187833 h 585692"/>
              <a:gd name="connsiteX57" fmla="*/ 254677 w 509349"/>
              <a:gd name="connsiteY57" fmla="*/ 128683 h 585692"/>
              <a:gd name="connsiteX58" fmla="*/ 397837 w 509349"/>
              <a:gd name="connsiteY58" fmla="*/ 187833 h 585692"/>
              <a:gd name="connsiteX59" fmla="*/ 397837 w 509349"/>
              <a:gd name="connsiteY59" fmla="*/ 474059 h 585692"/>
              <a:gd name="connsiteX60" fmla="*/ 358690 w 509349"/>
              <a:gd name="connsiteY60" fmla="*/ 236887 h 585692"/>
              <a:gd name="connsiteX61" fmla="*/ 374882 w 509349"/>
              <a:gd name="connsiteY61" fmla="*/ 220694 h 585692"/>
              <a:gd name="connsiteX62" fmla="*/ 364786 w 509349"/>
              <a:gd name="connsiteY62" fmla="*/ 210598 h 585692"/>
              <a:gd name="connsiteX63" fmla="*/ 348593 w 509349"/>
              <a:gd name="connsiteY63" fmla="*/ 226790 h 585692"/>
              <a:gd name="connsiteX64" fmla="*/ 254677 w 509349"/>
              <a:gd name="connsiteY64" fmla="*/ 190405 h 585692"/>
              <a:gd name="connsiteX65" fmla="*/ 254677 w 509349"/>
              <a:gd name="connsiteY65" fmla="*/ 204692 h 585692"/>
              <a:gd name="connsiteX66" fmla="*/ 338497 w 509349"/>
              <a:gd name="connsiteY66" fmla="*/ 236887 h 585692"/>
              <a:gd name="connsiteX67" fmla="*/ 268107 w 509349"/>
              <a:gd name="connsiteY67" fmla="*/ 307276 h 585692"/>
              <a:gd name="connsiteX68" fmla="*/ 254867 w 509349"/>
              <a:gd name="connsiteY68" fmla="*/ 303562 h 585692"/>
              <a:gd name="connsiteX69" fmla="*/ 228388 w 509349"/>
              <a:gd name="connsiteY69" fmla="*/ 330041 h 585692"/>
              <a:gd name="connsiteX70" fmla="*/ 254867 w 509349"/>
              <a:gd name="connsiteY70" fmla="*/ 356521 h 585692"/>
              <a:gd name="connsiteX71" fmla="*/ 281347 w 509349"/>
              <a:gd name="connsiteY71" fmla="*/ 330041 h 585692"/>
              <a:gd name="connsiteX72" fmla="*/ 278108 w 509349"/>
              <a:gd name="connsiteY72" fmla="*/ 317564 h 585692"/>
              <a:gd name="connsiteX73" fmla="*/ 348688 w 509349"/>
              <a:gd name="connsiteY73" fmla="*/ 246983 h 585692"/>
              <a:gd name="connsiteX74" fmla="*/ 380883 w 509349"/>
              <a:gd name="connsiteY74" fmla="*/ 330899 h 585692"/>
              <a:gd name="connsiteX75" fmla="*/ 254677 w 509349"/>
              <a:gd name="connsiteY75" fmla="*/ 457105 h 585692"/>
              <a:gd name="connsiteX76" fmla="*/ 254677 w 509349"/>
              <a:gd name="connsiteY76" fmla="*/ 471392 h 585692"/>
              <a:gd name="connsiteX77" fmla="*/ 395170 w 509349"/>
              <a:gd name="connsiteY77" fmla="*/ 330899 h 585692"/>
              <a:gd name="connsiteX78" fmla="*/ 358785 w 509349"/>
              <a:gd name="connsiteY78" fmla="*/ 236887 h 585692"/>
              <a:gd name="connsiteX79" fmla="*/ 254867 w 509349"/>
              <a:gd name="connsiteY79" fmla="*/ 342138 h 585692"/>
              <a:gd name="connsiteX80" fmla="*/ 242675 w 509349"/>
              <a:gd name="connsiteY80" fmla="*/ 329946 h 585692"/>
              <a:gd name="connsiteX81" fmla="*/ 254867 w 509349"/>
              <a:gd name="connsiteY81" fmla="*/ 317754 h 585692"/>
              <a:gd name="connsiteX82" fmla="*/ 267059 w 509349"/>
              <a:gd name="connsiteY82" fmla="*/ 329946 h 585692"/>
              <a:gd name="connsiteX83" fmla="*/ 254867 w 509349"/>
              <a:gd name="connsiteY83" fmla="*/ 342138 h 585692"/>
              <a:gd name="connsiteX84" fmla="*/ 178381 w 509349"/>
              <a:gd name="connsiteY84" fmla="*/ 182404 h 585692"/>
              <a:gd name="connsiteX85" fmla="*/ 168856 w 509349"/>
              <a:gd name="connsiteY85" fmla="*/ 191929 h 585692"/>
              <a:gd name="connsiteX86" fmla="*/ 159331 w 509349"/>
              <a:gd name="connsiteY86" fmla="*/ 182404 h 585692"/>
              <a:gd name="connsiteX87" fmla="*/ 168856 w 509349"/>
              <a:gd name="connsiteY87" fmla="*/ 172879 h 585692"/>
              <a:gd name="connsiteX88" fmla="*/ 178381 w 509349"/>
              <a:gd name="connsiteY88" fmla="*/ 182404 h 585692"/>
              <a:gd name="connsiteX89" fmla="*/ 245056 w 509349"/>
              <a:gd name="connsiteY89" fmla="*/ 159449 h 585692"/>
              <a:gd name="connsiteX90" fmla="*/ 254581 w 509349"/>
              <a:gd name="connsiteY90" fmla="*/ 149924 h 585692"/>
              <a:gd name="connsiteX91" fmla="*/ 264106 w 509349"/>
              <a:gd name="connsiteY91" fmla="*/ 159449 h 585692"/>
              <a:gd name="connsiteX92" fmla="*/ 254581 w 509349"/>
              <a:gd name="connsiteY92" fmla="*/ 168974 h 585692"/>
              <a:gd name="connsiteX93" fmla="*/ 245056 w 509349"/>
              <a:gd name="connsiteY93" fmla="*/ 159449 h 585692"/>
              <a:gd name="connsiteX94" fmla="*/ 330781 w 509349"/>
              <a:gd name="connsiteY94" fmla="*/ 182404 h 585692"/>
              <a:gd name="connsiteX95" fmla="*/ 340306 w 509349"/>
              <a:gd name="connsiteY95" fmla="*/ 172879 h 585692"/>
              <a:gd name="connsiteX96" fmla="*/ 349831 w 509349"/>
              <a:gd name="connsiteY96" fmla="*/ 182404 h 585692"/>
              <a:gd name="connsiteX97" fmla="*/ 340306 w 509349"/>
              <a:gd name="connsiteY97" fmla="*/ 191929 h 585692"/>
              <a:gd name="connsiteX98" fmla="*/ 330781 w 509349"/>
              <a:gd name="connsiteY98" fmla="*/ 182404 h 585692"/>
              <a:gd name="connsiteX99" fmla="*/ 412601 w 509349"/>
              <a:gd name="connsiteY99" fmla="*/ 245174 h 585692"/>
              <a:gd name="connsiteX100" fmla="*/ 403076 w 509349"/>
              <a:gd name="connsiteY100" fmla="*/ 254699 h 585692"/>
              <a:gd name="connsiteX101" fmla="*/ 393551 w 509349"/>
              <a:gd name="connsiteY101" fmla="*/ 245174 h 585692"/>
              <a:gd name="connsiteX102" fmla="*/ 403076 w 509349"/>
              <a:gd name="connsiteY102" fmla="*/ 235649 h 585692"/>
              <a:gd name="connsiteX103" fmla="*/ 412601 w 509349"/>
              <a:gd name="connsiteY103" fmla="*/ 245174 h 585692"/>
              <a:gd name="connsiteX104" fmla="*/ 435556 w 509349"/>
              <a:gd name="connsiteY104" fmla="*/ 330899 h 585692"/>
              <a:gd name="connsiteX105" fmla="*/ 426031 w 509349"/>
              <a:gd name="connsiteY105" fmla="*/ 340424 h 585692"/>
              <a:gd name="connsiteX106" fmla="*/ 416506 w 509349"/>
              <a:gd name="connsiteY106" fmla="*/ 330899 h 585692"/>
              <a:gd name="connsiteX107" fmla="*/ 426031 w 509349"/>
              <a:gd name="connsiteY107" fmla="*/ 321374 h 585692"/>
              <a:gd name="connsiteX108" fmla="*/ 435556 w 509349"/>
              <a:gd name="connsiteY108" fmla="*/ 330899 h 585692"/>
              <a:gd name="connsiteX109" fmla="*/ 412601 w 509349"/>
              <a:gd name="connsiteY109" fmla="*/ 416624 h 585692"/>
              <a:gd name="connsiteX110" fmla="*/ 403076 w 509349"/>
              <a:gd name="connsiteY110" fmla="*/ 426149 h 585692"/>
              <a:gd name="connsiteX111" fmla="*/ 393551 w 509349"/>
              <a:gd name="connsiteY111" fmla="*/ 416624 h 585692"/>
              <a:gd name="connsiteX112" fmla="*/ 403076 w 509349"/>
              <a:gd name="connsiteY112" fmla="*/ 407099 h 585692"/>
              <a:gd name="connsiteX113" fmla="*/ 412601 w 509349"/>
              <a:gd name="connsiteY113" fmla="*/ 416624 h 585692"/>
              <a:gd name="connsiteX114" fmla="*/ 349831 w 509349"/>
              <a:gd name="connsiteY114" fmla="*/ 479393 h 585692"/>
              <a:gd name="connsiteX115" fmla="*/ 340306 w 509349"/>
              <a:gd name="connsiteY115" fmla="*/ 488918 h 585692"/>
              <a:gd name="connsiteX116" fmla="*/ 330781 w 509349"/>
              <a:gd name="connsiteY116" fmla="*/ 479393 h 585692"/>
              <a:gd name="connsiteX117" fmla="*/ 340306 w 509349"/>
              <a:gd name="connsiteY117" fmla="*/ 469868 h 585692"/>
              <a:gd name="connsiteX118" fmla="*/ 349831 w 509349"/>
              <a:gd name="connsiteY118" fmla="*/ 479393 h 585692"/>
              <a:gd name="connsiteX119" fmla="*/ 264106 w 509349"/>
              <a:gd name="connsiteY119" fmla="*/ 502349 h 585692"/>
              <a:gd name="connsiteX120" fmla="*/ 254581 w 509349"/>
              <a:gd name="connsiteY120" fmla="*/ 511874 h 585692"/>
              <a:gd name="connsiteX121" fmla="*/ 245056 w 509349"/>
              <a:gd name="connsiteY121" fmla="*/ 502349 h 585692"/>
              <a:gd name="connsiteX122" fmla="*/ 254581 w 509349"/>
              <a:gd name="connsiteY122" fmla="*/ 492824 h 585692"/>
              <a:gd name="connsiteX123" fmla="*/ 264106 w 509349"/>
              <a:gd name="connsiteY123" fmla="*/ 502349 h 585692"/>
              <a:gd name="connsiteX124" fmla="*/ 178381 w 509349"/>
              <a:gd name="connsiteY124" fmla="*/ 479393 h 585692"/>
              <a:gd name="connsiteX125" fmla="*/ 168856 w 509349"/>
              <a:gd name="connsiteY125" fmla="*/ 488918 h 585692"/>
              <a:gd name="connsiteX126" fmla="*/ 159331 w 509349"/>
              <a:gd name="connsiteY126" fmla="*/ 479393 h 585692"/>
              <a:gd name="connsiteX127" fmla="*/ 168856 w 509349"/>
              <a:gd name="connsiteY127" fmla="*/ 469868 h 585692"/>
              <a:gd name="connsiteX128" fmla="*/ 178381 w 509349"/>
              <a:gd name="connsiteY128" fmla="*/ 479393 h 585692"/>
              <a:gd name="connsiteX129" fmla="*/ 115612 w 509349"/>
              <a:gd name="connsiteY129" fmla="*/ 416624 h 585692"/>
              <a:gd name="connsiteX130" fmla="*/ 106087 w 509349"/>
              <a:gd name="connsiteY130" fmla="*/ 426149 h 585692"/>
              <a:gd name="connsiteX131" fmla="*/ 96562 w 509349"/>
              <a:gd name="connsiteY131" fmla="*/ 416624 h 585692"/>
              <a:gd name="connsiteX132" fmla="*/ 106087 w 509349"/>
              <a:gd name="connsiteY132" fmla="*/ 407099 h 585692"/>
              <a:gd name="connsiteX133" fmla="*/ 115612 w 509349"/>
              <a:gd name="connsiteY133" fmla="*/ 416624 h 585692"/>
              <a:gd name="connsiteX134" fmla="*/ 92656 w 509349"/>
              <a:gd name="connsiteY134" fmla="*/ 330899 h 585692"/>
              <a:gd name="connsiteX135" fmla="*/ 83131 w 509349"/>
              <a:gd name="connsiteY135" fmla="*/ 340424 h 585692"/>
              <a:gd name="connsiteX136" fmla="*/ 73606 w 509349"/>
              <a:gd name="connsiteY136" fmla="*/ 330899 h 585692"/>
              <a:gd name="connsiteX137" fmla="*/ 83131 w 509349"/>
              <a:gd name="connsiteY137" fmla="*/ 321374 h 585692"/>
              <a:gd name="connsiteX138" fmla="*/ 92656 w 509349"/>
              <a:gd name="connsiteY138" fmla="*/ 330899 h 585692"/>
              <a:gd name="connsiteX139" fmla="*/ 115612 w 509349"/>
              <a:gd name="connsiteY139" fmla="*/ 245174 h 585692"/>
              <a:gd name="connsiteX140" fmla="*/ 106087 w 509349"/>
              <a:gd name="connsiteY140" fmla="*/ 254699 h 585692"/>
              <a:gd name="connsiteX141" fmla="*/ 96562 w 509349"/>
              <a:gd name="connsiteY141" fmla="*/ 245174 h 585692"/>
              <a:gd name="connsiteX142" fmla="*/ 106087 w 509349"/>
              <a:gd name="connsiteY142" fmla="*/ 235649 h 585692"/>
              <a:gd name="connsiteX143" fmla="*/ 115612 w 509349"/>
              <a:gd name="connsiteY143" fmla="*/ 245174 h 58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509349" h="585692">
                <a:moveTo>
                  <a:pt x="438319" y="154496"/>
                </a:moveTo>
                <a:lnTo>
                  <a:pt x="455273" y="137541"/>
                </a:lnTo>
                <a:lnTo>
                  <a:pt x="470704" y="152972"/>
                </a:lnTo>
                <a:lnTo>
                  <a:pt x="480800" y="142875"/>
                </a:lnTo>
                <a:lnTo>
                  <a:pt x="439843" y="101918"/>
                </a:lnTo>
                <a:lnTo>
                  <a:pt x="429746" y="112014"/>
                </a:lnTo>
                <a:lnTo>
                  <a:pt x="445177" y="127444"/>
                </a:lnTo>
                <a:lnTo>
                  <a:pt x="428127" y="144494"/>
                </a:lnTo>
                <a:cubicBezTo>
                  <a:pt x="386217" y="105442"/>
                  <a:pt x="334210" y="83153"/>
                  <a:pt x="280870" y="77724"/>
                </a:cubicBezTo>
                <a:lnTo>
                  <a:pt x="280870" y="52388"/>
                </a:lnTo>
                <a:lnTo>
                  <a:pt x="292777" y="52388"/>
                </a:lnTo>
                <a:cubicBezTo>
                  <a:pt x="307255" y="52388"/>
                  <a:pt x="318970" y="40672"/>
                  <a:pt x="318970" y="26194"/>
                </a:cubicBezTo>
                <a:cubicBezTo>
                  <a:pt x="318970" y="11716"/>
                  <a:pt x="307255" y="0"/>
                  <a:pt x="292777" y="0"/>
                </a:cubicBezTo>
                <a:lnTo>
                  <a:pt x="216577" y="0"/>
                </a:lnTo>
                <a:cubicBezTo>
                  <a:pt x="202099" y="0"/>
                  <a:pt x="190383" y="11716"/>
                  <a:pt x="190383" y="26194"/>
                </a:cubicBezTo>
                <a:cubicBezTo>
                  <a:pt x="190383" y="40672"/>
                  <a:pt x="202099" y="52388"/>
                  <a:pt x="216577" y="52388"/>
                </a:cubicBezTo>
                <a:lnTo>
                  <a:pt x="228483" y="52388"/>
                </a:lnTo>
                <a:lnTo>
                  <a:pt x="228483" y="77724"/>
                </a:lnTo>
                <a:cubicBezTo>
                  <a:pt x="174190" y="83249"/>
                  <a:pt x="121422" y="106204"/>
                  <a:pt x="79131" y="146494"/>
                </a:cubicBezTo>
                <a:lnTo>
                  <a:pt x="62367" y="129731"/>
                </a:lnTo>
                <a:lnTo>
                  <a:pt x="77797" y="114300"/>
                </a:lnTo>
                <a:lnTo>
                  <a:pt x="67701" y="104204"/>
                </a:lnTo>
                <a:lnTo>
                  <a:pt x="26743" y="145161"/>
                </a:lnTo>
                <a:lnTo>
                  <a:pt x="36840" y="155258"/>
                </a:lnTo>
                <a:lnTo>
                  <a:pt x="52270" y="139827"/>
                </a:lnTo>
                <a:lnTo>
                  <a:pt x="69034" y="156591"/>
                </a:lnTo>
                <a:cubicBezTo>
                  <a:pt x="-24787" y="256318"/>
                  <a:pt x="-22977" y="413671"/>
                  <a:pt x="74464" y="511207"/>
                </a:cubicBezTo>
                <a:cubicBezTo>
                  <a:pt x="124089" y="560832"/>
                  <a:pt x="189430" y="585692"/>
                  <a:pt x="254677" y="585692"/>
                </a:cubicBezTo>
                <a:cubicBezTo>
                  <a:pt x="319923" y="585692"/>
                  <a:pt x="385169" y="560832"/>
                  <a:pt x="434890" y="511207"/>
                </a:cubicBezTo>
                <a:cubicBezTo>
                  <a:pt x="532997" y="413099"/>
                  <a:pt x="534140" y="254127"/>
                  <a:pt x="438414" y="154496"/>
                </a:cubicBezTo>
                <a:close/>
                <a:moveTo>
                  <a:pt x="216577" y="38100"/>
                </a:moveTo>
                <a:cubicBezTo>
                  <a:pt x="210004" y="38100"/>
                  <a:pt x="204670" y="32766"/>
                  <a:pt x="204670" y="26194"/>
                </a:cubicBezTo>
                <a:cubicBezTo>
                  <a:pt x="204670" y="19622"/>
                  <a:pt x="210004" y="14288"/>
                  <a:pt x="216577" y="14288"/>
                </a:cubicBezTo>
                <a:lnTo>
                  <a:pt x="292777" y="14288"/>
                </a:lnTo>
                <a:cubicBezTo>
                  <a:pt x="299349" y="14288"/>
                  <a:pt x="304683" y="19622"/>
                  <a:pt x="304683" y="26194"/>
                </a:cubicBezTo>
                <a:cubicBezTo>
                  <a:pt x="304683" y="32766"/>
                  <a:pt x="299349" y="38100"/>
                  <a:pt x="292777" y="38100"/>
                </a:cubicBezTo>
                <a:lnTo>
                  <a:pt x="216577" y="38100"/>
                </a:lnTo>
                <a:close/>
                <a:moveTo>
                  <a:pt x="242770" y="52388"/>
                </a:moveTo>
                <a:lnTo>
                  <a:pt x="266583" y="52388"/>
                </a:lnTo>
                <a:lnTo>
                  <a:pt x="266583" y="76581"/>
                </a:lnTo>
                <a:cubicBezTo>
                  <a:pt x="258677" y="76200"/>
                  <a:pt x="250676" y="76200"/>
                  <a:pt x="242770" y="76581"/>
                </a:cubicBezTo>
                <a:lnTo>
                  <a:pt x="242770" y="52388"/>
                </a:lnTo>
                <a:close/>
                <a:moveTo>
                  <a:pt x="424698" y="501015"/>
                </a:moveTo>
                <a:cubicBezTo>
                  <a:pt x="330877" y="594836"/>
                  <a:pt x="178381" y="594836"/>
                  <a:pt x="84560" y="501015"/>
                </a:cubicBezTo>
                <a:cubicBezTo>
                  <a:pt x="-9261" y="407194"/>
                  <a:pt x="-9166" y="254699"/>
                  <a:pt x="84560" y="160877"/>
                </a:cubicBezTo>
                <a:cubicBezTo>
                  <a:pt x="131423" y="114014"/>
                  <a:pt x="193050" y="90583"/>
                  <a:pt x="254581" y="90583"/>
                </a:cubicBezTo>
                <a:cubicBezTo>
                  <a:pt x="316113" y="90583"/>
                  <a:pt x="377740" y="114014"/>
                  <a:pt x="424603" y="160877"/>
                </a:cubicBezTo>
                <a:cubicBezTo>
                  <a:pt x="518329" y="254603"/>
                  <a:pt x="518329" y="407194"/>
                  <a:pt x="424603" y="501015"/>
                </a:cubicBezTo>
                <a:close/>
                <a:moveTo>
                  <a:pt x="407839" y="177737"/>
                </a:moveTo>
                <a:cubicBezTo>
                  <a:pt x="323352" y="93250"/>
                  <a:pt x="185906" y="93250"/>
                  <a:pt x="101419" y="177737"/>
                </a:cubicBezTo>
                <a:cubicBezTo>
                  <a:pt x="16933" y="262223"/>
                  <a:pt x="16933" y="399669"/>
                  <a:pt x="101419" y="484156"/>
                </a:cubicBezTo>
                <a:cubicBezTo>
                  <a:pt x="143710" y="526352"/>
                  <a:pt x="199146" y="547497"/>
                  <a:pt x="254677" y="547497"/>
                </a:cubicBezTo>
                <a:cubicBezTo>
                  <a:pt x="310207" y="547497"/>
                  <a:pt x="365643" y="526352"/>
                  <a:pt x="407934" y="484156"/>
                </a:cubicBezTo>
                <a:cubicBezTo>
                  <a:pt x="492421" y="399669"/>
                  <a:pt x="492421" y="262223"/>
                  <a:pt x="407934" y="177737"/>
                </a:cubicBezTo>
                <a:close/>
                <a:moveTo>
                  <a:pt x="397742" y="474059"/>
                </a:moveTo>
                <a:cubicBezTo>
                  <a:pt x="318780" y="552926"/>
                  <a:pt x="190383" y="552926"/>
                  <a:pt x="111516" y="474059"/>
                </a:cubicBezTo>
                <a:cubicBezTo>
                  <a:pt x="32649" y="395097"/>
                  <a:pt x="32649" y="266700"/>
                  <a:pt x="111516" y="187833"/>
                </a:cubicBezTo>
                <a:cubicBezTo>
                  <a:pt x="150949" y="148400"/>
                  <a:pt x="202765" y="128683"/>
                  <a:pt x="254677" y="128683"/>
                </a:cubicBezTo>
                <a:cubicBezTo>
                  <a:pt x="306588" y="128683"/>
                  <a:pt x="358309" y="148400"/>
                  <a:pt x="397837" y="187833"/>
                </a:cubicBezTo>
                <a:cubicBezTo>
                  <a:pt x="476704" y="266795"/>
                  <a:pt x="476704" y="395192"/>
                  <a:pt x="397837" y="474059"/>
                </a:cubicBezTo>
                <a:close/>
                <a:moveTo>
                  <a:pt x="358690" y="236887"/>
                </a:moveTo>
                <a:lnTo>
                  <a:pt x="374882" y="220694"/>
                </a:lnTo>
                <a:lnTo>
                  <a:pt x="364786" y="210598"/>
                </a:lnTo>
                <a:lnTo>
                  <a:pt x="348593" y="226790"/>
                </a:lnTo>
                <a:cubicBezTo>
                  <a:pt x="323638" y="204311"/>
                  <a:pt x="290776" y="190405"/>
                  <a:pt x="254677" y="190405"/>
                </a:cubicBezTo>
                <a:lnTo>
                  <a:pt x="254677" y="204692"/>
                </a:lnTo>
                <a:cubicBezTo>
                  <a:pt x="286871" y="204692"/>
                  <a:pt x="316208" y="216884"/>
                  <a:pt x="338497" y="236887"/>
                </a:cubicBezTo>
                <a:lnTo>
                  <a:pt x="268107" y="307276"/>
                </a:lnTo>
                <a:cubicBezTo>
                  <a:pt x="264202" y="304991"/>
                  <a:pt x="259725" y="303562"/>
                  <a:pt x="254867" y="303562"/>
                </a:cubicBezTo>
                <a:cubicBezTo>
                  <a:pt x="240294" y="303562"/>
                  <a:pt x="228388" y="315468"/>
                  <a:pt x="228388" y="330041"/>
                </a:cubicBezTo>
                <a:cubicBezTo>
                  <a:pt x="228388" y="344615"/>
                  <a:pt x="240294" y="356521"/>
                  <a:pt x="254867" y="356521"/>
                </a:cubicBezTo>
                <a:cubicBezTo>
                  <a:pt x="269440" y="356521"/>
                  <a:pt x="281347" y="344615"/>
                  <a:pt x="281347" y="330041"/>
                </a:cubicBezTo>
                <a:cubicBezTo>
                  <a:pt x="281347" y="325469"/>
                  <a:pt x="280108" y="321278"/>
                  <a:pt x="278108" y="317564"/>
                </a:cubicBezTo>
                <a:lnTo>
                  <a:pt x="348688" y="246983"/>
                </a:lnTo>
                <a:cubicBezTo>
                  <a:pt x="368691" y="269272"/>
                  <a:pt x="380883" y="298704"/>
                  <a:pt x="380883" y="330899"/>
                </a:cubicBezTo>
                <a:cubicBezTo>
                  <a:pt x="380883" y="400526"/>
                  <a:pt x="324304" y="457105"/>
                  <a:pt x="254677" y="457105"/>
                </a:cubicBezTo>
                <a:lnTo>
                  <a:pt x="254677" y="471392"/>
                </a:lnTo>
                <a:cubicBezTo>
                  <a:pt x="332115" y="471392"/>
                  <a:pt x="395170" y="408337"/>
                  <a:pt x="395170" y="330899"/>
                </a:cubicBezTo>
                <a:cubicBezTo>
                  <a:pt x="395170" y="294704"/>
                  <a:pt x="381264" y="261747"/>
                  <a:pt x="358785" y="236887"/>
                </a:cubicBezTo>
                <a:close/>
                <a:moveTo>
                  <a:pt x="254867" y="342138"/>
                </a:moveTo>
                <a:cubicBezTo>
                  <a:pt x="248200" y="342138"/>
                  <a:pt x="242675" y="336709"/>
                  <a:pt x="242675" y="329946"/>
                </a:cubicBezTo>
                <a:cubicBezTo>
                  <a:pt x="242675" y="323183"/>
                  <a:pt x="248104" y="317754"/>
                  <a:pt x="254867" y="317754"/>
                </a:cubicBezTo>
                <a:cubicBezTo>
                  <a:pt x="261630" y="317754"/>
                  <a:pt x="267059" y="323183"/>
                  <a:pt x="267059" y="329946"/>
                </a:cubicBezTo>
                <a:cubicBezTo>
                  <a:pt x="267059" y="336709"/>
                  <a:pt x="261630" y="342138"/>
                  <a:pt x="254867" y="342138"/>
                </a:cubicBezTo>
                <a:close/>
                <a:moveTo>
                  <a:pt x="178381" y="182404"/>
                </a:moveTo>
                <a:cubicBezTo>
                  <a:pt x="178381" y="187643"/>
                  <a:pt x="174095" y="191929"/>
                  <a:pt x="168856" y="191929"/>
                </a:cubicBezTo>
                <a:cubicBezTo>
                  <a:pt x="163618" y="191929"/>
                  <a:pt x="159331" y="187643"/>
                  <a:pt x="159331" y="182404"/>
                </a:cubicBezTo>
                <a:cubicBezTo>
                  <a:pt x="159331" y="177165"/>
                  <a:pt x="163618" y="172879"/>
                  <a:pt x="168856" y="172879"/>
                </a:cubicBezTo>
                <a:cubicBezTo>
                  <a:pt x="174095" y="172879"/>
                  <a:pt x="178381" y="177165"/>
                  <a:pt x="178381" y="182404"/>
                </a:cubicBezTo>
                <a:close/>
                <a:moveTo>
                  <a:pt x="245056" y="159449"/>
                </a:moveTo>
                <a:cubicBezTo>
                  <a:pt x="245056" y="154210"/>
                  <a:pt x="249343" y="149924"/>
                  <a:pt x="254581" y="149924"/>
                </a:cubicBezTo>
                <a:cubicBezTo>
                  <a:pt x="259820" y="149924"/>
                  <a:pt x="264106" y="154210"/>
                  <a:pt x="264106" y="159449"/>
                </a:cubicBezTo>
                <a:cubicBezTo>
                  <a:pt x="264106" y="164687"/>
                  <a:pt x="259820" y="168974"/>
                  <a:pt x="254581" y="168974"/>
                </a:cubicBezTo>
                <a:cubicBezTo>
                  <a:pt x="249343" y="168974"/>
                  <a:pt x="245056" y="164687"/>
                  <a:pt x="245056" y="159449"/>
                </a:cubicBezTo>
                <a:close/>
                <a:moveTo>
                  <a:pt x="330781" y="182404"/>
                </a:moveTo>
                <a:cubicBezTo>
                  <a:pt x="330781" y="177165"/>
                  <a:pt x="335068" y="172879"/>
                  <a:pt x="340306" y="172879"/>
                </a:cubicBezTo>
                <a:cubicBezTo>
                  <a:pt x="345545" y="172879"/>
                  <a:pt x="349831" y="177165"/>
                  <a:pt x="349831" y="182404"/>
                </a:cubicBezTo>
                <a:cubicBezTo>
                  <a:pt x="349831" y="187643"/>
                  <a:pt x="345545" y="191929"/>
                  <a:pt x="340306" y="191929"/>
                </a:cubicBezTo>
                <a:cubicBezTo>
                  <a:pt x="335068" y="191929"/>
                  <a:pt x="330781" y="187643"/>
                  <a:pt x="330781" y="182404"/>
                </a:cubicBezTo>
                <a:close/>
                <a:moveTo>
                  <a:pt x="412601" y="245174"/>
                </a:moveTo>
                <a:cubicBezTo>
                  <a:pt x="412601" y="250412"/>
                  <a:pt x="408315" y="254699"/>
                  <a:pt x="403076" y="254699"/>
                </a:cubicBezTo>
                <a:cubicBezTo>
                  <a:pt x="397837" y="254699"/>
                  <a:pt x="393551" y="250412"/>
                  <a:pt x="393551" y="245174"/>
                </a:cubicBezTo>
                <a:cubicBezTo>
                  <a:pt x="393551" y="239935"/>
                  <a:pt x="397837" y="235649"/>
                  <a:pt x="403076" y="235649"/>
                </a:cubicBezTo>
                <a:cubicBezTo>
                  <a:pt x="408315" y="235649"/>
                  <a:pt x="412601" y="239935"/>
                  <a:pt x="412601" y="245174"/>
                </a:cubicBezTo>
                <a:close/>
                <a:moveTo>
                  <a:pt x="435556" y="330899"/>
                </a:moveTo>
                <a:cubicBezTo>
                  <a:pt x="435556" y="336137"/>
                  <a:pt x="431270" y="340424"/>
                  <a:pt x="426031" y="340424"/>
                </a:cubicBezTo>
                <a:cubicBezTo>
                  <a:pt x="420793" y="340424"/>
                  <a:pt x="416506" y="336137"/>
                  <a:pt x="416506" y="330899"/>
                </a:cubicBezTo>
                <a:cubicBezTo>
                  <a:pt x="416506" y="325660"/>
                  <a:pt x="420793" y="321374"/>
                  <a:pt x="426031" y="321374"/>
                </a:cubicBezTo>
                <a:cubicBezTo>
                  <a:pt x="431270" y="321374"/>
                  <a:pt x="435556" y="325660"/>
                  <a:pt x="435556" y="330899"/>
                </a:cubicBezTo>
                <a:close/>
                <a:moveTo>
                  <a:pt x="412601" y="416624"/>
                </a:moveTo>
                <a:cubicBezTo>
                  <a:pt x="412601" y="421862"/>
                  <a:pt x="408315" y="426149"/>
                  <a:pt x="403076" y="426149"/>
                </a:cubicBezTo>
                <a:cubicBezTo>
                  <a:pt x="397837" y="426149"/>
                  <a:pt x="393551" y="421862"/>
                  <a:pt x="393551" y="416624"/>
                </a:cubicBezTo>
                <a:cubicBezTo>
                  <a:pt x="393551" y="411385"/>
                  <a:pt x="397837" y="407099"/>
                  <a:pt x="403076" y="407099"/>
                </a:cubicBezTo>
                <a:cubicBezTo>
                  <a:pt x="408315" y="407099"/>
                  <a:pt x="412601" y="411385"/>
                  <a:pt x="412601" y="416624"/>
                </a:cubicBezTo>
                <a:close/>
                <a:moveTo>
                  <a:pt x="349831" y="479393"/>
                </a:moveTo>
                <a:cubicBezTo>
                  <a:pt x="349831" y="484632"/>
                  <a:pt x="345545" y="488918"/>
                  <a:pt x="340306" y="488918"/>
                </a:cubicBezTo>
                <a:cubicBezTo>
                  <a:pt x="335068" y="488918"/>
                  <a:pt x="330781" y="484632"/>
                  <a:pt x="330781" y="479393"/>
                </a:cubicBezTo>
                <a:cubicBezTo>
                  <a:pt x="330781" y="474155"/>
                  <a:pt x="335068" y="469868"/>
                  <a:pt x="340306" y="469868"/>
                </a:cubicBezTo>
                <a:cubicBezTo>
                  <a:pt x="345545" y="469868"/>
                  <a:pt x="349831" y="474155"/>
                  <a:pt x="349831" y="479393"/>
                </a:cubicBezTo>
                <a:close/>
                <a:moveTo>
                  <a:pt x="264106" y="502349"/>
                </a:moveTo>
                <a:cubicBezTo>
                  <a:pt x="264106" y="507587"/>
                  <a:pt x="259820" y="511874"/>
                  <a:pt x="254581" y="511874"/>
                </a:cubicBezTo>
                <a:cubicBezTo>
                  <a:pt x="249343" y="511874"/>
                  <a:pt x="245056" y="507587"/>
                  <a:pt x="245056" y="502349"/>
                </a:cubicBezTo>
                <a:cubicBezTo>
                  <a:pt x="245056" y="497110"/>
                  <a:pt x="249343" y="492824"/>
                  <a:pt x="254581" y="492824"/>
                </a:cubicBezTo>
                <a:cubicBezTo>
                  <a:pt x="259820" y="492824"/>
                  <a:pt x="264106" y="497110"/>
                  <a:pt x="264106" y="502349"/>
                </a:cubicBezTo>
                <a:close/>
                <a:moveTo>
                  <a:pt x="178381" y="479393"/>
                </a:moveTo>
                <a:cubicBezTo>
                  <a:pt x="178381" y="484632"/>
                  <a:pt x="174095" y="488918"/>
                  <a:pt x="168856" y="488918"/>
                </a:cubicBezTo>
                <a:cubicBezTo>
                  <a:pt x="163618" y="488918"/>
                  <a:pt x="159331" y="484632"/>
                  <a:pt x="159331" y="479393"/>
                </a:cubicBezTo>
                <a:cubicBezTo>
                  <a:pt x="159331" y="474155"/>
                  <a:pt x="163618" y="469868"/>
                  <a:pt x="168856" y="469868"/>
                </a:cubicBezTo>
                <a:cubicBezTo>
                  <a:pt x="174095" y="469868"/>
                  <a:pt x="178381" y="474155"/>
                  <a:pt x="178381" y="479393"/>
                </a:cubicBezTo>
                <a:close/>
                <a:moveTo>
                  <a:pt x="115612" y="416624"/>
                </a:moveTo>
                <a:cubicBezTo>
                  <a:pt x="115612" y="421862"/>
                  <a:pt x="111325" y="426149"/>
                  <a:pt x="106087" y="426149"/>
                </a:cubicBezTo>
                <a:cubicBezTo>
                  <a:pt x="100848" y="426149"/>
                  <a:pt x="96562" y="421862"/>
                  <a:pt x="96562" y="416624"/>
                </a:cubicBezTo>
                <a:cubicBezTo>
                  <a:pt x="96562" y="411385"/>
                  <a:pt x="100848" y="407099"/>
                  <a:pt x="106087" y="407099"/>
                </a:cubicBezTo>
                <a:cubicBezTo>
                  <a:pt x="111325" y="407099"/>
                  <a:pt x="115612" y="411385"/>
                  <a:pt x="115612" y="416624"/>
                </a:cubicBezTo>
                <a:close/>
                <a:moveTo>
                  <a:pt x="92656" y="330899"/>
                </a:moveTo>
                <a:cubicBezTo>
                  <a:pt x="92656" y="336137"/>
                  <a:pt x="88370" y="340424"/>
                  <a:pt x="83131" y="340424"/>
                </a:cubicBezTo>
                <a:cubicBezTo>
                  <a:pt x="77893" y="340424"/>
                  <a:pt x="73606" y="336137"/>
                  <a:pt x="73606" y="330899"/>
                </a:cubicBezTo>
                <a:cubicBezTo>
                  <a:pt x="73606" y="325660"/>
                  <a:pt x="77893" y="321374"/>
                  <a:pt x="83131" y="321374"/>
                </a:cubicBezTo>
                <a:cubicBezTo>
                  <a:pt x="88370" y="321374"/>
                  <a:pt x="92656" y="325660"/>
                  <a:pt x="92656" y="330899"/>
                </a:cubicBezTo>
                <a:close/>
                <a:moveTo>
                  <a:pt x="115612" y="245174"/>
                </a:moveTo>
                <a:cubicBezTo>
                  <a:pt x="115612" y="250412"/>
                  <a:pt x="111325" y="254699"/>
                  <a:pt x="106087" y="254699"/>
                </a:cubicBezTo>
                <a:cubicBezTo>
                  <a:pt x="100848" y="254699"/>
                  <a:pt x="96562" y="250412"/>
                  <a:pt x="96562" y="245174"/>
                </a:cubicBezTo>
                <a:cubicBezTo>
                  <a:pt x="96562" y="239935"/>
                  <a:pt x="100848" y="235649"/>
                  <a:pt x="106087" y="235649"/>
                </a:cubicBezTo>
                <a:cubicBezTo>
                  <a:pt x="111325" y="235649"/>
                  <a:pt x="115612" y="239935"/>
                  <a:pt x="115612" y="245174"/>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Neue Haas Grotesk Text Pro" panose="020B0504020202020204" pitchFamily="34" charset="0"/>
              <a:ea typeface="ＭＳ Ｐゴシック" charset="0"/>
              <a:cs typeface="+mn-cs"/>
            </a:endParaRPr>
          </a:p>
        </p:txBody>
      </p:sp>
      <p:sp>
        <p:nvSpPr>
          <p:cNvPr id="56" name="Freeform 15">
            <a:extLst>
              <a:ext uri="{FF2B5EF4-FFF2-40B4-BE49-F238E27FC236}">
                <a16:creationId xmlns:a16="http://schemas.microsoft.com/office/drawing/2014/main" id="{CC6EDC61-6D2D-4B29-D2C3-69C86E5153F8}"/>
              </a:ext>
            </a:extLst>
          </p:cNvPr>
          <p:cNvSpPr/>
          <p:nvPr/>
        </p:nvSpPr>
        <p:spPr>
          <a:xfrm>
            <a:off x="7331701" y="1104971"/>
            <a:ext cx="270293" cy="342602"/>
          </a:xfrm>
          <a:custGeom>
            <a:avLst/>
            <a:gdLst>
              <a:gd name="connsiteX0" fmla="*/ 114300 w 471487"/>
              <a:gd name="connsiteY0" fmla="*/ 304252 h 597622"/>
              <a:gd name="connsiteX1" fmla="*/ 114300 w 471487"/>
              <a:gd name="connsiteY1" fmla="*/ 349972 h 597622"/>
              <a:gd name="connsiteX2" fmla="*/ 235744 w 471487"/>
              <a:gd name="connsiteY2" fmla="*/ 471416 h 597622"/>
              <a:gd name="connsiteX3" fmla="*/ 357188 w 471487"/>
              <a:gd name="connsiteY3" fmla="*/ 349972 h 597622"/>
              <a:gd name="connsiteX4" fmla="*/ 357188 w 471487"/>
              <a:gd name="connsiteY4" fmla="*/ 204716 h 597622"/>
              <a:gd name="connsiteX5" fmla="*/ 445294 w 471487"/>
              <a:gd name="connsiteY5" fmla="*/ 204716 h 597622"/>
              <a:gd name="connsiteX6" fmla="*/ 445294 w 471487"/>
              <a:gd name="connsiteY6" fmla="*/ 190429 h 597622"/>
              <a:gd name="connsiteX7" fmla="*/ 26194 w 471487"/>
              <a:gd name="connsiteY7" fmla="*/ 190429 h 597622"/>
              <a:gd name="connsiteX8" fmla="*/ 26194 w 471487"/>
              <a:gd name="connsiteY8" fmla="*/ 204716 h 597622"/>
              <a:gd name="connsiteX9" fmla="*/ 57150 w 471487"/>
              <a:gd name="connsiteY9" fmla="*/ 204716 h 597622"/>
              <a:gd name="connsiteX10" fmla="*/ 57150 w 471487"/>
              <a:gd name="connsiteY10" fmla="*/ 349877 h 597622"/>
              <a:gd name="connsiteX11" fmla="*/ 71438 w 471487"/>
              <a:gd name="connsiteY11" fmla="*/ 349877 h 597622"/>
              <a:gd name="connsiteX12" fmla="*/ 71438 w 471487"/>
              <a:gd name="connsiteY12" fmla="*/ 204716 h 597622"/>
              <a:gd name="connsiteX13" fmla="*/ 114300 w 471487"/>
              <a:gd name="connsiteY13" fmla="*/ 204716 h 597622"/>
              <a:gd name="connsiteX14" fmla="*/ 114300 w 471487"/>
              <a:gd name="connsiteY14" fmla="*/ 304252 h 597622"/>
              <a:gd name="connsiteX15" fmla="*/ 128588 w 471487"/>
              <a:gd name="connsiteY15" fmla="*/ 292822 h 597622"/>
              <a:gd name="connsiteX16" fmla="*/ 128588 w 471487"/>
              <a:gd name="connsiteY16" fmla="*/ 204716 h 597622"/>
              <a:gd name="connsiteX17" fmla="*/ 342900 w 471487"/>
              <a:gd name="connsiteY17" fmla="*/ 204716 h 597622"/>
              <a:gd name="connsiteX18" fmla="*/ 342900 w 471487"/>
              <a:gd name="connsiteY18" fmla="*/ 293489 h 597622"/>
              <a:gd name="connsiteX19" fmla="*/ 342043 w 471487"/>
              <a:gd name="connsiteY19" fmla="*/ 293108 h 597622"/>
              <a:gd name="connsiteX20" fmla="*/ 235744 w 471487"/>
              <a:gd name="connsiteY20" fmla="*/ 303776 h 597622"/>
              <a:gd name="connsiteX21" fmla="*/ 167545 w 471487"/>
              <a:gd name="connsiteY21" fmla="*/ 285583 h 597622"/>
              <a:gd name="connsiteX22" fmla="*/ 129445 w 471487"/>
              <a:gd name="connsiteY22" fmla="*/ 293013 h 597622"/>
              <a:gd name="connsiteX23" fmla="*/ 128588 w 471487"/>
              <a:gd name="connsiteY23" fmla="*/ 293394 h 597622"/>
              <a:gd name="connsiteX24" fmla="*/ 128588 w 471487"/>
              <a:gd name="connsiteY24" fmla="*/ 292727 h 597622"/>
              <a:gd name="connsiteX25" fmla="*/ 128588 w 471487"/>
              <a:gd name="connsiteY25" fmla="*/ 309015 h 597622"/>
              <a:gd name="connsiteX26" fmla="*/ 134969 w 471487"/>
              <a:gd name="connsiteY26" fmla="*/ 306348 h 597622"/>
              <a:gd name="connsiteX27" fmla="*/ 232410 w 471487"/>
              <a:gd name="connsiteY27" fmla="*/ 318254 h 597622"/>
              <a:gd name="connsiteX28" fmla="*/ 235744 w 471487"/>
              <a:gd name="connsiteY28" fmla="*/ 319111 h 597622"/>
              <a:gd name="connsiteX29" fmla="*/ 239077 w 471487"/>
              <a:gd name="connsiteY29" fmla="*/ 318254 h 597622"/>
              <a:gd name="connsiteX30" fmla="*/ 336518 w 471487"/>
              <a:gd name="connsiteY30" fmla="*/ 306348 h 597622"/>
              <a:gd name="connsiteX31" fmla="*/ 342900 w 471487"/>
              <a:gd name="connsiteY31" fmla="*/ 309015 h 597622"/>
              <a:gd name="connsiteX32" fmla="*/ 342900 w 471487"/>
              <a:gd name="connsiteY32" fmla="*/ 349972 h 597622"/>
              <a:gd name="connsiteX33" fmla="*/ 235744 w 471487"/>
              <a:gd name="connsiteY33" fmla="*/ 457129 h 597622"/>
              <a:gd name="connsiteX34" fmla="*/ 128588 w 471487"/>
              <a:gd name="connsiteY34" fmla="*/ 349972 h 597622"/>
              <a:gd name="connsiteX35" fmla="*/ 128588 w 471487"/>
              <a:gd name="connsiteY35" fmla="*/ 309015 h 597622"/>
              <a:gd name="connsiteX36" fmla="*/ 235744 w 471487"/>
              <a:gd name="connsiteY36" fmla="*/ 50792 h 597622"/>
              <a:gd name="connsiteX37" fmla="*/ 203168 w 471487"/>
              <a:gd name="connsiteY37" fmla="*/ 83368 h 597622"/>
              <a:gd name="connsiteX38" fmla="*/ 235744 w 471487"/>
              <a:gd name="connsiteY38" fmla="*/ 115943 h 597622"/>
              <a:gd name="connsiteX39" fmla="*/ 268319 w 471487"/>
              <a:gd name="connsiteY39" fmla="*/ 83368 h 597622"/>
              <a:gd name="connsiteX40" fmla="*/ 235744 w 471487"/>
              <a:gd name="connsiteY40" fmla="*/ 50792 h 597622"/>
              <a:gd name="connsiteX41" fmla="*/ 235744 w 471487"/>
              <a:gd name="connsiteY41" fmla="*/ 101560 h 597622"/>
              <a:gd name="connsiteX42" fmla="*/ 217456 w 471487"/>
              <a:gd name="connsiteY42" fmla="*/ 83272 h 597622"/>
              <a:gd name="connsiteX43" fmla="*/ 235744 w 471487"/>
              <a:gd name="connsiteY43" fmla="*/ 64984 h 597622"/>
              <a:gd name="connsiteX44" fmla="*/ 254032 w 471487"/>
              <a:gd name="connsiteY44" fmla="*/ 83272 h 597622"/>
              <a:gd name="connsiteX45" fmla="*/ 235744 w 471487"/>
              <a:gd name="connsiteY45" fmla="*/ 101560 h 597622"/>
              <a:gd name="connsiteX46" fmla="*/ 307848 w 471487"/>
              <a:gd name="connsiteY46" fmla="*/ 70318 h 597622"/>
              <a:gd name="connsiteX47" fmla="*/ 314230 w 471487"/>
              <a:gd name="connsiteY47" fmla="*/ 55364 h 597622"/>
              <a:gd name="connsiteX48" fmla="*/ 307943 w 471487"/>
              <a:gd name="connsiteY48" fmla="*/ 41553 h 597622"/>
              <a:gd name="connsiteX49" fmla="*/ 299180 w 471487"/>
              <a:gd name="connsiteY49" fmla="*/ 29266 h 597622"/>
              <a:gd name="connsiteX50" fmla="*/ 283083 w 471487"/>
              <a:gd name="connsiteY50" fmla="*/ 27361 h 597622"/>
              <a:gd name="connsiteX51" fmla="*/ 267653 w 471487"/>
              <a:gd name="connsiteY51" fmla="*/ 28123 h 597622"/>
              <a:gd name="connsiteX52" fmla="*/ 260604 w 471487"/>
              <a:gd name="connsiteY52" fmla="*/ 14407 h 597622"/>
              <a:gd name="connsiteX53" fmla="*/ 250793 w 471487"/>
              <a:gd name="connsiteY53" fmla="*/ 1357 h 597622"/>
              <a:gd name="connsiteX54" fmla="*/ 220504 w 471487"/>
              <a:gd name="connsiteY54" fmla="*/ 1357 h 597622"/>
              <a:gd name="connsiteX55" fmla="*/ 210979 w 471487"/>
              <a:gd name="connsiteY55" fmla="*/ 14311 h 597622"/>
              <a:gd name="connsiteX56" fmla="*/ 203930 w 471487"/>
              <a:gd name="connsiteY56" fmla="*/ 28027 h 597622"/>
              <a:gd name="connsiteX57" fmla="*/ 188500 w 471487"/>
              <a:gd name="connsiteY57" fmla="*/ 27265 h 597622"/>
              <a:gd name="connsiteX58" fmla="*/ 172498 w 471487"/>
              <a:gd name="connsiteY58" fmla="*/ 28980 h 597622"/>
              <a:gd name="connsiteX59" fmla="*/ 157258 w 471487"/>
              <a:gd name="connsiteY59" fmla="*/ 55174 h 597622"/>
              <a:gd name="connsiteX60" fmla="*/ 163640 w 471487"/>
              <a:gd name="connsiteY60" fmla="*/ 70223 h 597622"/>
              <a:gd name="connsiteX61" fmla="*/ 172022 w 471487"/>
              <a:gd name="connsiteY61" fmla="*/ 83177 h 597622"/>
              <a:gd name="connsiteX62" fmla="*/ 163640 w 471487"/>
              <a:gd name="connsiteY62" fmla="*/ 96131 h 597622"/>
              <a:gd name="connsiteX63" fmla="*/ 157258 w 471487"/>
              <a:gd name="connsiteY63" fmla="*/ 111085 h 597622"/>
              <a:gd name="connsiteX64" fmla="*/ 163544 w 471487"/>
              <a:gd name="connsiteY64" fmla="*/ 124897 h 597622"/>
              <a:gd name="connsiteX65" fmla="*/ 172307 w 471487"/>
              <a:gd name="connsiteY65" fmla="*/ 137184 h 597622"/>
              <a:gd name="connsiteX66" fmla="*/ 188404 w 471487"/>
              <a:gd name="connsiteY66" fmla="*/ 139089 h 597622"/>
              <a:gd name="connsiteX67" fmla="*/ 203835 w 471487"/>
              <a:gd name="connsiteY67" fmla="*/ 138327 h 597622"/>
              <a:gd name="connsiteX68" fmla="*/ 210884 w 471487"/>
              <a:gd name="connsiteY68" fmla="*/ 152043 h 597622"/>
              <a:gd name="connsiteX69" fmla="*/ 220694 w 471487"/>
              <a:gd name="connsiteY69" fmla="*/ 165092 h 597622"/>
              <a:gd name="connsiteX70" fmla="*/ 235744 w 471487"/>
              <a:gd name="connsiteY70" fmla="*/ 166426 h 597622"/>
              <a:gd name="connsiteX71" fmla="*/ 251079 w 471487"/>
              <a:gd name="connsiteY71" fmla="*/ 164997 h 597622"/>
              <a:gd name="connsiteX72" fmla="*/ 260604 w 471487"/>
              <a:gd name="connsiteY72" fmla="*/ 152043 h 597622"/>
              <a:gd name="connsiteX73" fmla="*/ 267653 w 471487"/>
              <a:gd name="connsiteY73" fmla="*/ 138327 h 597622"/>
              <a:gd name="connsiteX74" fmla="*/ 283083 w 471487"/>
              <a:gd name="connsiteY74" fmla="*/ 139089 h 597622"/>
              <a:gd name="connsiteX75" fmla="*/ 299085 w 471487"/>
              <a:gd name="connsiteY75" fmla="*/ 137374 h 597622"/>
              <a:gd name="connsiteX76" fmla="*/ 314325 w 471487"/>
              <a:gd name="connsiteY76" fmla="*/ 111181 h 597622"/>
              <a:gd name="connsiteX77" fmla="*/ 307943 w 471487"/>
              <a:gd name="connsiteY77" fmla="*/ 96131 h 597622"/>
              <a:gd name="connsiteX78" fmla="*/ 299561 w 471487"/>
              <a:gd name="connsiteY78" fmla="*/ 83177 h 597622"/>
              <a:gd name="connsiteX79" fmla="*/ 307943 w 471487"/>
              <a:gd name="connsiteY79" fmla="*/ 70223 h 597622"/>
              <a:gd name="connsiteX80" fmla="*/ 285179 w 471487"/>
              <a:gd name="connsiteY80" fmla="*/ 83272 h 597622"/>
              <a:gd name="connsiteX81" fmla="*/ 300133 w 471487"/>
              <a:gd name="connsiteY81" fmla="*/ 108323 h 597622"/>
              <a:gd name="connsiteX82" fmla="*/ 289655 w 471487"/>
              <a:gd name="connsiteY82" fmla="*/ 126421 h 597622"/>
              <a:gd name="connsiteX83" fmla="*/ 260509 w 471487"/>
              <a:gd name="connsiteY83" fmla="*/ 126040 h 597622"/>
              <a:gd name="connsiteX84" fmla="*/ 246221 w 471487"/>
              <a:gd name="connsiteY84" fmla="*/ 151471 h 597622"/>
              <a:gd name="connsiteX85" fmla="*/ 225266 w 471487"/>
              <a:gd name="connsiteY85" fmla="*/ 151471 h 597622"/>
              <a:gd name="connsiteX86" fmla="*/ 210979 w 471487"/>
              <a:gd name="connsiteY86" fmla="*/ 126040 h 597622"/>
              <a:gd name="connsiteX87" fmla="*/ 181832 w 471487"/>
              <a:gd name="connsiteY87" fmla="*/ 126421 h 597622"/>
              <a:gd name="connsiteX88" fmla="*/ 175831 w 471487"/>
              <a:gd name="connsiteY88" fmla="*/ 117753 h 597622"/>
              <a:gd name="connsiteX89" fmla="*/ 171355 w 471487"/>
              <a:gd name="connsiteY89" fmla="*/ 108228 h 597622"/>
              <a:gd name="connsiteX90" fmla="*/ 186214 w 471487"/>
              <a:gd name="connsiteY90" fmla="*/ 83177 h 597622"/>
              <a:gd name="connsiteX91" fmla="*/ 171260 w 471487"/>
              <a:gd name="connsiteY91" fmla="*/ 58126 h 597622"/>
              <a:gd name="connsiteX92" fmla="*/ 181737 w 471487"/>
              <a:gd name="connsiteY92" fmla="*/ 40029 h 597622"/>
              <a:gd name="connsiteX93" fmla="*/ 210884 w 471487"/>
              <a:gd name="connsiteY93" fmla="*/ 40410 h 597622"/>
              <a:gd name="connsiteX94" fmla="*/ 225171 w 471487"/>
              <a:gd name="connsiteY94" fmla="*/ 14978 h 597622"/>
              <a:gd name="connsiteX95" fmla="*/ 246126 w 471487"/>
              <a:gd name="connsiteY95" fmla="*/ 14978 h 597622"/>
              <a:gd name="connsiteX96" fmla="*/ 260414 w 471487"/>
              <a:gd name="connsiteY96" fmla="*/ 40410 h 597622"/>
              <a:gd name="connsiteX97" fmla="*/ 289560 w 471487"/>
              <a:gd name="connsiteY97" fmla="*/ 40029 h 597622"/>
              <a:gd name="connsiteX98" fmla="*/ 295561 w 471487"/>
              <a:gd name="connsiteY98" fmla="*/ 48697 h 597622"/>
              <a:gd name="connsiteX99" fmla="*/ 300038 w 471487"/>
              <a:gd name="connsiteY99" fmla="*/ 58222 h 597622"/>
              <a:gd name="connsiteX100" fmla="*/ 285179 w 471487"/>
              <a:gd name="connsiteY100" fmla="*/ 83272 h 597622"/>
              <a:gd name="connsiteX101" fmla="*/ 14288 w 471487"/>
              <a:gd name="connsiteY101" fmla="*/ 597622 h 597622"/>
              <a:gd name="connsiteX102" fmla="*/ 0 w 471487"/>
              <a:gd name="connsiteY102" fmla="*/ 597622 h 597622"/>
              <a:gd name="connsiteX103" fmla="*/ 102394 w 471487"/>
              <a:gd name="connsiteY103" fmla="*/ 495229 h 597622"/>
              <a:gd name="connsiteX104" fmla="*/ 369094 w 471487"/>
              <a:gd name="connsiteY104" fmla="*/ 495229 h 597622"/>
              <a:gd name="connsiteX105" fmla="*/ 471488 w 471487"/>
              <a:gd name="connsiteY105" fmla="*/ 597622 h 597622"/>
              <a:gd name="connsiteX106" fmla="*/ 457200 w 471487"/>
              <a:gd name="connsiteY106" fmla="*/ 597622 h 597622"/>
              <a:gd name="connsiteX107" fmla="*/ 369094 w 471487"/>
              <a:gd name="connsiteY107" fmla="*/ 509516 h 597622"/>
              <a:gd name="connsiteX108" fmla="*/ 102394 w 471487"/>
              <a:gd name="connsiteY108" fmla="*/ 509516 h 597622"/>
              <a:gd name="connsiteX109" fmla="*/ 14288 w 471487"/>
              <a:gd name="connsiteY109" fmla="*/ 597622 h 597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71487" h="597622">
                <a:moveTo>
                  <a:pt x="114300" y="304252"/>
                </a:moveTo>
                <a:lnTo>
                  <a:pt x="114300" y="349972"/>
                </a:lnTo>
                <a:cubicBezTo>
                  <a:pt x="114300" y="416933"/>
                  <a:pt x="168783" y="471416"/>
                  <a:pt x="235744" y="471416"/>
                </a:cubicBezTo>
                <a:cubicBezTo>
                  <a:pt x="302705" y="471416"/>
                  <a:pt x="357188" y="416933"/>
                  <a:pt x="357188" y="349972"/>
                </a:cubicBezTo>
                <a:lnTo>
                  <a:pt x="357188" y="204716"/>
                </a:lnTo>
                <a:lnTo>
                  <a:pt x="445294" y="204716"/>
                </a:lnTo>
                <a:lnTo>
                  <a:pt x="445294" y="190429"/>
                </a:lnTo>
                <a:lnTo>
                  <a:pt x="26194" y="190429"/>
                </a:lnTo>
                <a:lnTo>
                  <a:pt x="26194" y="204716"/>
                </a:lnTo>
                <a:lnTo>
                  <a:pt x="57150" y="204716"/>
                </a:lnTo>
                <a:lnTo>
                  <a:pt x="57150" y="349877"/>
                </a:lnTo>
                <a:lnTo>
                  <a:pt x="71438" y="349877"/>
                </a:lnTo>
                <a:lnTo>
                  <a:pt x="71438" y="204716"/>
                </a:lnTo>
                <a:lnTo>
                  <a:pt x="114300" y="204716"/>
                </a:lnTo>
                <a:lnTo>
                  <a:pt x="114300" y="304252"/>
                </a:lnTo>
                <a:close/>
                <a:moveTo>
                  <a:pt x="128588" y="292822"/>
                </a:moveTo>
                <a:lnTo>
                  <a:pt x="128588" y="204716"/>
                </a:lnTo>
                <a:lnTo>
                  <a:pt x="342900" y="204716"/>
                </a:lnTo>
                <a:lnTo>
                  <a:pt x="342900" y="293489"/>
                </a:lnTo>
                <a:lnTo>
                  <a:pt x="342043" y="293108"/>
                </a:lnTo>
                <a:cubicBezTo>
                  <a:pt x="304133" y="277201"/>
                  <a:pt x="263843" y="289679"/>
                  <a:pt x="235744" y="303776"/>
                </a:cubicBezTo>
                <a:cubicBezTo>
                  <a:pt x="216979" y="294346"/>
                  <a:pt x="192786" y="285583"/>
                  <a:pt x="167545" y="285583"/>
                </a:cubicBezTo>
                <a:cubicBezTo>
                  <a:pt x="154972" y="285583"/>
                  <a:pt x="142113" y="287774"/>
                  <a:pt x="129445" y="293013"/>
                </a:cubicBezTo>
                <a:lnTo>
                  <a:pt x="128588" y="293394"/>
                </a:lnTo>
                <a:lnTo>
                  <a:pt x="128588" y="292727"/>
                </a:lnTo>
                <a:close/>
                <a:moveTo>
                  <a:pt x="128588" y="309015"/>
                </a:moveTo>
                <a:lnTo>
                  <a:pt x="134969" y="306348"/>
                </a:lnTo>
                <a:cubicBezTo>
                  <a:pt x="169354" y="291965"/>
                  <a:pt x="206883" y="304824"/>
                  <a:pt x="232410" y="318254"/>
                </a:cubicBezTo>
                <a:cubicBezTo>
                  <a:pt x="233458" y="318826"/>
                  <a:pt x="234601" y="319111"/>
                  <a:pt x="235744" y="319111"/>
                </a:cubicBezTo>
                <a:cubicBezTo>
                  <a:pt x="236887" y="319111"/>
                  <a:pt x="238030" y="318826"/>
                  <a:pt x="239077" y="318254"/>
                </a:cubicBezTo>
                <a:cubicBezTo>
                  <a:pt x="264605" y="304824"/>
                  <a:pt x="302133" y="291965"/>
                  <a:pt x="336518" y="306348"/>
                </a:cubicBezTo>
                <a:lnTo>
                  <a:pt x="342900" y="309015"/>
                </a:lnTo>
                <a:lnTo>
                  <a:pt x="342900" y="349972"/>
                </a:lnTo>
                <a:cubicBezTo>
                  <a:pt x="342900" y="409027"/>
                  <a:pt x="294799" y="457129"/>
                  <a:pt x="235744" y="457129"/>
                </a:cubicBezTo>
                <a:cubicBezTo>
                  <a:pt x="176689" y="457129"/>
                  <a:pt x="128588" y="409027"/>
                  <a:pt x="128588" y="349972"/>
                </a:cubicBezTo>
                <a:lnTo>
                  <a:pt x="128588" y="309015"/>
                </a:lnTo>
                <a:close/>
                <a:moveTo>
                  <a:pt x="235744" y="50792"/>
                </a:moveTo>
                <a:cubicBezTo>
                  <a:pt x="217837" y="50792"/>
                  <a:pt x="203168" y="65365"/>
                  <a:pt x="203168" y="83368"/>
                </a:cubicBezTo>
                <a:cubicBezTo>
                  <a:pt x="203168" y="101370"/>
                  <a:pt x="217742" y="115943"/>
                  <a:pt x="235744" y="115943"/>
                </a:cubicBezTo>
                <a:cubicBezTo>
                  <a:pt x="253746" y="115943"/>
                  <a:pt x="268319" y="101370"/>
                  <a:pt x="268319" y="83368"/>
                </a:cubicBezTo>
                <a:cubicBezTo>
                  <a:pt x="268319" y="65365"/>
                  <a:pt x="253746" y="50792"/>
                  <a:pt x="235744" y="50792"/>
                </a:cubicBezTo>
                <a:close/>
                <a:moveTo>
                  <a:pt x="235744" y="101560"/>
                </a:moveTo>
                <a:cubicBezTo>
                  <a:pt x="225647" y="101560"/>
                  <a:pt x="217456" y="93369"/>
                  <a:pt x="217456" y="83272"/>
                </a:cubicBezTo>
                <a:cubicBezTo>
                  <a:pt x="217456" y="73176"/>
                  <a:pt x="225647" y="64984"/>
                  <a:pt x="235744" y="64984"/>
                </a:cubicBezTo>
                <a:cubicBezTo>
                  <a:pt x="245840" y="64984"/>
                  <a:pt x="254032" y="73176"/>
                  <a:pt x="254032" y="83272"/>
                </a:cubicBezTo>
                <a:cubicBezTo>
                  <a:pt x="254032" y="93369"/>
                  <a:pt x="245840" y="101560"/>
                  <a:pt x="235744" y="101560"/>
                </a:cubicBezTo>
                <a:close/>
                <a:moveTo>
                  <a:pt x="307848" y="70318"/>
                </a:moveTo>
                <a:cubicBezTo>
                  <a:pt x="313563" y="67747"/>
                  <a:pt x="316325" y="61270"/>
                  <a:pt x="314230" y="55364"/>
                </a:cubicBezTo>
                <a:cubicBezTo>
                  <a:pt x="312515" y="50506"/>
                  <a:pt x="310420" y="45839"/>
                  <a:pt x="307943" y="41553"/>
                </a:cubicBezTo>
                <a:cubicBezTo>
                  <a:pt x="305467" y="37267"/>
                  <a:pt x="302514" y="33076"/>
                  <a:pt x="299180" y="29266"/>
                </a:cubicBezTo>
                <a:cubicBezTo>
                  <a:pt x="295085" y="24503"/>
                  <a:pt x="288131" y="23741"/>
                  <a:pt x="283083" y="27361"/>
                </a:cubicBezTo>
                <a:cubicBezTo>
                  <a:pt x="278511" y="30599"/>
                  <a:pt x="272510" y="30885"/>
                  <a:pt x="267653" y="28123"/>
                </a:cubicBezTo>
                <a:cubicBezTo>
                  <a:pt x="262795" y="25360"/>
                  <a:pt x="260033" y="19931"/>
                  <a:pt x="260604" y="14407"/>
                </a:cubicBezTo>
                <a:cubicBezTo>
                  <a:pt x="261175" y="8120"/>
                  <a:pt x="256985" y="2500"/>
                  <a:pt x="250793" y="1357"/>
                </a:cubicBezTo>
                <a:cubicBezTo>
                  <a:pt x="240697" y="-452"/>
                  <a:pt x="230505" y="-452"/>
                  <a:pt x="220504" y="1357"/>
                </a:cubicBezTo>
                <a:cubicBezTo>
                  <a:pt x="214503" y="2500"/>
                  <a:pt x="210407" y="8025"/>
                  <a:pt x="210979" y="14311"/>
                </a:cubicBezTo>
                <a:cubicBezTo>
                  <a:pt x="211550" y="19836"/>
                  <a:pt x="208788" y="25265"/>
                  <a:pt x="203930" y="28027"/>
                </a:cubicBezTo>
                <a:cubicBezTo>
                  <a:pt x="199073" y="30790"/>
                  <a:pt x="193072" y="30504"/>
                  <a:pt x="188500" y="27265"/>
                </a:cubicBezTo>
                <a:cubicBezTo>
                  <a:pt x="183356" y="23646"/>
                  <a:pt x="176498" y="24313"/>
                  <a:pt x="172498" y="28980"/>
                </a:cubicBezTo>
                <a:cubicBezTo>
                  <a:pt x="165830" y="36695"/>
                  <a:pt x="160687" y="45553"/>
                  <a:pt x="157258" y="55174"/>
                </a:cubicBezTo>
                <a:cubicBezTo>
                  <a:pt x="155162" y="61079"/>
                  <a:pt x="157925" y="67556"/>
                  <a:pt x="163640" y="70223"/>
                </a:cubicBezTo>
                <a:cubicBezTo>
                  <a:pt x="168688" y="72509"/>
                  <a:pt x="172022" y="77653"/>
                  <a:pt x="172022" y="83177"/>
                </a:cubicBezTo>
                <a:cubicBezTo>
                  <a:pt x="172022" y="88702"/>
                  <a:pt x="168688" y="93845"/>
                  <a:pt x="163640" y="96131"/>
                </a:cubicBezTo>
                <a:cubicBezTo>
                  <a:pt x="157925" y="98703"/>
                  <a:pt x="155162" y="105180"/>
                  <a:pt x="157258" y="111085"/>
                </a:cubicBezTo>
                <a:cubicBezTo>
                  <a:pt x="158972" y="115943"/>
                  <a:pt x="161068" y="120610"/>
                  <a:pt x="163544" y="124897"/>
                </a:cubicBezTo>
                <a:cubicBezTo>
                  <a:pt x="166021" y="129183"/>
                  <a:pt x="168974" y="133374"/>
                  <a:pt x="172307" y="137184"/>
                </a:cubicBezTo>
                <a:cubicBezTo>
                  <a:pt x="176403" y="141946"/>
                  <a:pt x="183356" y="142708"/>
                  <a:pt x="188404" y="139089"/>
                </a:cubicBezTo>
                <a:cubicBezTo>
                  <a:pt x="192976" y="135850"/>
                  <a:pt x="199073" y="135565"/>
                  <a:pt x="203835" y="138327"/>
                </a:cubicBezTo>
                <a:cubicBezTo>
                  <a:pt x="208693" y="141089"/>
                  <a:pt x="211455" y="146518"/>
                  <a:pt x="210884" y="152043"/>
                </a:cubicBezTo>
                <a:cubicBezTo>
                  <a:pt x="210312" y="158329"/>
                  <a:pt x="214503" y="163949"/>
                  <a:pt x="220694" y="165092"/>
                </a:cubicBezTo>
                <a:cubicBezTo>
                  <a:pt x="225647" y="166045"/>
                  <a:pt x="230696" y="166426"/>
                  <a:pt x="235744" y="166426"/>
                </a:cubicBezTo>
                <a:cubicBezTo>
                  <a:pt x="240792" y="166426"/>
                  <a:pt x="246031" y="165949"/>
                  <a:pt x="251079" y="164997"/>
                </a:cubicBezTo>
                <a:cubicBezTo>
                  <a:pt x="257080" y="163854"/>
                  <a:pt x="261175" y="158329"/>
                  <a:pt x="260604" y="152043"/>
                </a:cubicBezTo>
                <a:cubicBezTo>
                  <a:pt x="260033" y="146518"/>
                  <a:pt x="262795" y="141089"/>
                  <a:pt x="267653" y="138327"/>
                </a:cubicBezTo>
                <a:cubicBezTo>
                  <a:pt x="272510" y="135565"/>
                  <a:pt x="278511" y="135850"/>
                  <a:pt x="283083" y="139089"/>
                </a:cubicBezTo>
                <a:cubicBezTo>
                  <a:pt x="288226" y="142708"/>
                  <a:pt x="295085" y="142042"/>
                  <a:pt x="299085" y="137374"/>
                </a:cubicBezTo>
                <a:cubicBezTo>
                  <a:pt x="305753" y="129659"/>
                  <a:pt x="310896" y="120801"/>
                  <a:pt x="314325" y="111181"/>
                </a:cubicBezTo>
                <a:cubicBezTo>
                  <a:pt x="316421" y="105275"/>
                  <a:pt x="313658" y="98798"/>
                  <a:pt x="307943" y="96131"/>
                </a:cubicBezTo>
                <a:cubicBezTo>
                  <a:pt x="302895" y="93845"/>
                  <a:pt x="299561" y="88702"/>
                  <a:pt x="299561" y="83177"/>
                </a:cubicBezTo>
                <a:cubicBezTo>
                  <a:pt x="299561" y="77653"/>
                  <a:pt x="302895" y="72509"/>
                  <a:pt x="307943" y="70223"/>
                </a:cubicBezTo>
                <a:close/>
                <a:moveTo>
                  <a:pt x="285179" y="83272"/>
                </a:moveTo>
                <a:cubicBezTo>
                  <a:pt x="285179" y="93750"/>
                  <a:pt x="290989" y="103370"/>
                  <a:pt x="300133" y="108323"/>
                </a:cubicBezTo>
                <a:cubicBezTo>
                  <a:pt x="297561" y="114895"/>
                  <a:pt x="294037" y="120991"/>
                  <a:pt x="289655" y="126421"/>
                </a:cubicBezTo>
                <a:cubicBezTo>
                  <a:pt x="280797" y="120991"/>
                  <a:pt x="269558" y="120801"/>
                  <a:pt x="260509" y="126040"/>
                </a:cubicBezTo>
                <a:cubicBezTo>
                  <a:pt x="251460" y="131278"/>
                  <a:pt x="246031" y="141089"/>
                  <a:pt x="246221" y="151471"/>
                </a:cubicBezTo>
                <a:cubicBezTo>
                  <a:pt x="239268" y="152519"/>
                  <a:pt x="232220" y="152519"/>
                  <a:pt x="225266" y="151471"/>
                </a:cubicBezTo>
                <a:cubicBezTo>
                  <a:pt x="225552" y="141089"/>
                  <a:pt x="220027" y="131278"/>
                  <a:pt x="210979" y="126040"/>
                </a:cubicBezTo>
                <a:cubicBezTo>
                  <a:pt x="201930" y="120801"/>
                  <a:pt x="190691" y="120991"/>
                  <a:pt x="181832" y="126421"/>
                </a:cubicBezTo>
                <a:cubicBezTo>
                  <a:pt x="179546" y="123658"/>
                  <a:pt x="177546" y="120706"/>
                  <a:pt x="175831" y="117753"/>
                </a:cubicBezTo>
                <a:cubicBezTo>
                  <a:pt x="174117" y="114800"/>
                  <a:pt x="172593" y="111562"/>
                  <a:pt x="171355" y="108228"/>
                </a:cubicBezTo>
                <a:cubicBezTo>
                  <a:pt x="180499" y="103275"/>
                  <a:pt x="186214" y="93655"/>
                  <a:pt x="186214" y="83177"/>
                </a:cubicBezTo>
                <a:cubicBezTo>
                  <a:pt x="186214" y="72700"/>
                  <a:pt x="180403" y="63079"/>
                  <a:pt x="171260" y="58126"/>
                </a:cubicBezTo>
                <a:cubicBezTo>
                  <a:pt x="173831" y="51554"/>
                  <a:pt x="177355" y="45458"/>
                  <a:pt x="181737" y="40029"/>
                </a:cubicBezTo>
                <a:cubicBezTo>
                  <a:pt x="190595" y="45458"/>
                  <a:pt x="201835" y="45649"/>
                  <a:pt x="210884" y="40410"/>
                </a:cubicBezTo>
                <a:cubicBezTo>
                  <a:pt x="219932" y="35171"/>
                  <a:pt x="225362" y="25360"/>
                  <a:pt x="225171" y="14978"/>
                </a:cubicBezTo>
                <a:cubicBezTo>
                  <a:pt x="232124" y="13930"/>
                  <a:pt x="239077" y="13930"/>
                  <a:pt x="246126" y="14978"/>
                </a:cubicBezTo>
                <a:cubicBezTo>
                  <a:pt x="245840" y="25360"/>
                  <a:pt x="251365" y="35171"/>
                  <a:pt x="260414" y="40410"/>
                </a:cubicBezTo>
                <a:cubicBezTo>
                  <a:pt x="269462" y="45649"/>
                  <a:pt x="280702" y="45458"/>
                  <a:pt x="289560" y="40029"/>
                </a:cubicBezTo>
                <a:cubicBezTo>
                  <a:pt x="291846" y="42791"/>
                  <a:pt x="293846" y="45744"/>
                  <a:pt x="295561" y="48697"/>
                </a:cubicBezTo>
                <a:cubicBezTo>
                  <a:pt x="297275" y="51649"/>
                  <a:pt x="298799" y="54888"/>
                  <a:pt x="300038" y="58222"/>
                </a:cubicBezTo>
                <a:cubicBezTo>
                  <a:pt x="290894" y="63175"/>
                  <a:pt x="285179" y="72795"/>
                  <a:pt x="285179" y="83272"/>
                </a:cubicBezTo>
                <a:close/>
                <a:moveTo>
                  <a:pt x="14288" y="597622"/>
                </a:moveTo>
                <a:lnTo>
                  <a:pt x="0" y="597622"/>
                </a:lnTo>
                <a:cubicBezTo>
                  <a:pt x="0" y="541139"/>
                  <a:pt x="45910" y="495229"/>
                  <a:pt x="102394" y="495229"/>
                </a:cubicBezTo>
                <a:lnTo>
                  <a:pt x="369094" y="495229"/>
                </a:lnTo>
                <a:cubicBezTo>
                  <a:pt x="425577" y="495229"/>
                  <a:pt x="471488" y="541139"/>
                  <a:pt x="471488" y="597622"/>
                </a:cubicBezTo>
                <a:lnTo>
                  <a:pt x="457200" y="597622"/>
                </a:lnTo>
                <a:cubicBezTo>
                  <a:pt x="457200" y="549045"/>
                  <a:pt x="417671" y="509516"/>
                  <a:pt x="369094" y="509516"/>
                </a:cubicBezTo>
                <a:lnTo>
                  <a:pt x="102394" y="509516"/>
                </a:lnTo>
                <a:cubicBezTo>
                  <a:pt x="53816" y="509516"/>
                  <a:pt x="14288" y="549045"/>
                  <a:pt x="14288" y="597622"/>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Neue Haas Grotesk Text Pro" panose="020B0504020202020204" pitchFamily="34" charset="0"/>
              <a:ea typeface="ＭＳ Ｐゴシック" charset="0"/>
              <a:cs typeface="+mn-cs"/>
            </a:endParaRPr>
          </a:p>
        </p:txBody>
      </p:sp>
      <p:sp>
        <p:nvSpPr>
          <p:cNvPr id="71" name="Freeform 21">
            <a:extLst>
              <a:ext uri="{FF2B5EF4-FFF2-40B4-BE49-F238E27FC236}">
                <a16:creationId xmlns:a16="http://schemas.microsoft.com/office/drawing/2014/main" id="{0528B29A-1959-7AF4-41FA-5AD1887BB2E8}"/>
              </a:ext>
            </a:extLst>
          </p:cNvPr>
          <p:cNvSpPr/>
          <p:nvPr/>
        </p:nvSpPr>
        <p:spPr>
          <a:xfrm>
            <a:off x="4267070" y="2701774"/>
            <a:ext cx="335817" cy="335817"/>
          </a:xfrm>
          <a:custGeom>
            <a:avLst/>
            <a:gdLst>
              <a:gd name="connsiteX0" fmla="*/ 530733 w 585787"/>
              <a:gd name="connsiteY0" fmla="*/ 122301 h 585787"/>
              <a:gd name="connsiteX1" fmla="*/ 583692 w 585787"/>
              <a:gd name="connsiteY1" fmla="*/ 69342 h 585787"/>
              <a:gd name="connsiteX2" fmla="*/ 585216 w 585787"/>
              <a:gd name="connsiteY2" fmla="*/ 61532 h 585787"/>
              <a:gd name="connsiteX3" fmla="*/ 578644 w 585787"/>
              <a:gd name="connsiteY3" fmla="*/ 57150 h 585787"/>
              <a:gd name="connsiteX4" fmla="*/ 537115 w 585787"/>
              <a:gd name="connsiteY4" fmla="*/ 57150 h 585787"/>
              <a:gd name="connsiteX5" fmla="*/ 562547 w 585787"/>
              <a:gd name="connsiteY5" fmla="*/ 31814 h 585787"/>
              <a:gd name="connsiteX6" fmla="*/ 552450 w 585787"/>
              <a:gd name="connsiteY6" fmla="*/ 21717 h 585787"/>
              <a:gd name="connsiteX7" fmla="*/ 528638 w 585787"/>
              <a:gd name="connsiteY7" fmla="*/ 45625 h 585787"/>
              <a:gd name="connsiteX8" fmla="*/ 528638 w 585787"/>
              <a:gd name="connsiteY8" fmla="*/ 7144 h 585787"/>
              <a:gd name="connsiteX9" fmla="*/ 524256 w 585787"/>
              <a:gd name="connsiteY9" fmla="*/ 572 h 585787"/>
              <a:gd name="connsiteX10" fmla="*/ 516446 w 585787"/>
              <a:gd name="connsiteY10" fmla="*/ 2096 h 585787"/>
              <a:gd name="connsiteX11" fmla="*/ 463487 w 585787"/>
              <a:gd name="connsiteY11" fmla="*/ 55054 h 585787"/>
              <a:gd name="connsiteX12" fmla="*/ 292894 w 585787"/>
              <a:gd name="connsiteY12" fmla="*/ 0 h 585787"/>
              <a:gd name="connsiteX13" fmla="*/ 0 w 585787"/>
              <a:gd name="connsiteY13" fmla="*/ 292894 h 585787"/>
              <a:gd name="connsiteX14" fmla="*/ 292894 w 585787"/>
              <a:gd name="connsiteY14" fmla="*/ 585788 h 585787"/>
              <a:gd name="connsiteX15" fmla="*/ 585788 w 585787"/>
              <a:gd name="connsiteY15" fmla="*/ 292894 h 585787"/>
              <a:gd name="connsiteX16" fmla="*/ 530733 w 585787"/>
              <a:gd name="connsiteY16" fmla="*/ 122301 h 585787"/>
              <a:gd name="connsiteX17" fmla="*/ 518541 w 585787"/>
              <a:gd name="connsiteY17" fmla="*/ 114300 h 585787"/>
              <a:gd name="connsiteX18" fmla="*/ 480250 w 585787"/>
              <a:gd name="connsiteY18" fmla="*/ 114300 h 585787"/>
              <a:gd name="connsiteX19" fmla="*/ 522827 w 585787"/>
              <a:gd name="connsiteY19" fmla="*/ 71438 h 585787"/>
              <a:gd name="connsiteX20" fmla="*/ 561404 w 585787"/>
              <a:gd name="connsiteY20" fmla="*/ 71438 h 585787"/>
              <a:gd name="connsiteX21" fmla="*/ 518541 w 585787"/>
              <a:gd name="connsiteY21" fmla="*/ 114300 h 585787"/>
              <a:gd name="connsiteX22" fmla="*/ 514350 w 585787"/>
              <a:gd name="connsiteY22" fmla="*/ 24384 h 585787"/>
              <a:gd name="connsiteX23" fmla="*/ 514350 w 585787"/>
              <a:gd name="connsiteY23" fmla="*/ 60008 h 585787"/>
              <a:gd name="connsiteX24" fmla="*/ 471488 w 585787"/>
              <a:gd name="connsiteY24" fmla="*/ 103156 h 585787"/>
              <a:gd name="connsiteX25" fmla="*/ 471488 w 585787"/>
              <a:gd name="connsiteY25" fmla="*/ 67342 h 585787"/>
              <a:gd name="connsiteX26" fmla="*/ 514350 w 585787"/>
              <a:gd name="connsiteY26" fmla="*/ 24479 h 585787"/>
              <a:gd name="connsiteX27" fmla="*/ 292894 w 585787"/>
              <a:gd name="connsiteY27" fmla="*/ 571500 h 585787"/>
              <a:gd name="connsiteX28" fmla="*/ 14288 w 585787"/>
              <a:gd name="connsiteY28" fmla="*/ 292894 h 585787"/>
              <a:gd name="connsiteX29" fmla="*/ 292894 w 585787"/>
              <a:gd name="connsiteY29" fmla="*/ 14288 h 585787"/>
              <a:gd name="connsiteX30" fmla="*/ 457200 w 585787"/>
              <a:gd name="connsiteY30" fmla="*/ 68008 h 585787"/>
              <a:gd name="connsiteX31" fmla="*/ 457200 w 585787"/>
              <a:gd name="connsiteY31" fmla="*/ 117443 h 585787"/>
              <a:gd name="connsiteX32" fmla="*/ 426244 w 585787"/>
              <a:gd name="connsiteY32" fmla="*/ 148590 h 585787"/>
              <a:gd name="connsiteX33" fmla="*/ 291084 w 585787"/>
              <a:gd name="connsiteY33" fmla="*/ 96298 h 585787"/>
              <a:gd name="connsiteX34" fmla="*/ 88964 w 585787"/>
              <a:gd name="connsiteY34" fmla="*/ 298418 h 585787"/>
              <a:gd name="connsiteX35" fmla="*/ 291084 w 585787"/>
              <a:gd name="connsiteY35" fmla="*/ 500634 h 585787"/>
              <a:gd name="connsiteX36" fmla="*/ 493205 w 585787"/>
              <a:gd name="connsiteY36" fmla="*/ 298418 h 585787"/>
              <a:gd name="connsiteX37" fmla="*/ 436436 w 585787"/>
              <a:gd name="connsiteY37" fmla="*/ 158306 h 585787"/>
              <a:gd name="connsiteX38" fmla="*/ 466058 w 585787"/>
              <a:gd name="connsiteY38" fmla="*/ 128492 h 585787"/>
              <a:gd name="connsiteX39" fmla="*/ 517779 w 585787"/>
              <a:gd name="connsiteY39" fmla="*/ 128492 h 585787"/>
              <a:gd name="connsiteX40" fmla="*/ 571500 w 585787"/>
              <a:gd name="connsiteY40" fmla="*/ 292799 h 585787"/>
              <a:gd name="connsiteX41" fmla="*/ 292894 w 585787"/>
              <a:gd name="connsiteY41" fmla="*/ 571405 h 585787"/>
              <a:gd name="connsiteX42" fmla="*/ 297942 w 585787"/>
              <a:gd name="connsiteY42" fmla="*/ 297942 h 585787"/>
              <a:gd name="connsiteX43" fmla="*/ 358521 w 585787"/>
              <a:gd name="connsiteY43" fmla="*/ 236887 h 585787"/>
              <a:gd name="connsiteX44" fmla="*/ 381572 w 585787"/>
              <a:gd name="connsiteY44" fmla="*/ 297656 h 585787"/>
              <a:gd name="connsiteX45" fmla="*/ 289560 w 585787"/>
              <a:gd name="connsiteY45" fmla="*/ 389668 h 585787"/>
              <a:gd name="connsiteX46" fmla="*/ 197453 w 585787"/>
              <a:gd name="connsiteY46" fmla="*/ 297656 h 585787"/>
              <a:gd name="connsiteX47" fmla="*/ 289560 w 585787"/>
              <a:gd name="connsiteY47" fmla="*/ 205550 h 585787"/>
              <a:gd name="connsiteX48" fmla="*/ 348425 w 585787"/>
              <a:gd name="connsiteY48" fmla="*/ 226886 h 585787"/>
              <a:gd name="connsiteX49" fmla="*/ 287846 w 585787"/>
              <a:gd name="connsiteY49" fmla="*/ 287846 h 585787"/>
              <a:gd name="connsiteX50" fmla="*/ 297942 w 585787"/>
              <a:gd name="connsiteY50" fmla="*/ 297942 h 585787"/>
              <a:gd name="connsiteX51" fmla="*/ 358426 w 585787"/>
              <a:gd name="connsiteY51" fmla="*/ 216789 h 585787"/>
              <a:gd name="connsiteX52" fmla="*/ 289560 w 585787"/>
              <a:gd name="connsiteY52" fmla="*/ 191262 h 585787"/>
              <a:gd name="connsiteX53" fmla="*/ 183166 w 585787"/>
              <a:gd name="connsiteY53" fmla="*/ 297656 h 585787"/>
              <a:gd name="connsiteX54" fmla="*/ 289560 w 585787"/>
              <a:gd name="connsiteY54" fmla="*/ 403955 h 585787"/>
              <a:gd name="connsiteX55" fmla="*/ 395859 w 585787"/>
              <a:gd name="connsiteY55" fmla="*/ 297656 h 585787"/>
              <a:gd name="connsiteX56" fmla="*/ 368618 w 585787"/>
              <a:gd name="connsiteY56" fmla="*/ 226790 h 585787"/>
              <a:gd name="connsiteX57" fmla="*/ 426434 w 585787"/>
              <a:gd name="connsiteY57" fmla="*/ 168593 h 585787"/>
              <a:gd name="connsiteX58" fmla="*/ 479012 w 585787"/>
              <a:gd name="connsiteY58" fmla="*/ 298609 h 585787"/>
              <a:gd name="connsiteX59" fmla="*/ 291179 w 585787"/>
              <a:gd name="connsiteY59" fmla="*/ 486537 h 585787"/>
              <a:gd name="connsiteX60" fmla="*/ 103346 w 585787"/>
              <a:gd name="connsiteY60" fmla="*/ 298609 h 585787"/>
              <a:gd name="connsiteX61" fmla="*/ 291179 w 585787"/>
              <a:gd name="connsiteY61" fmla="*/ 110776 h 585787"/>
              <a:gd name="connsiteX62" fmla="*/ 416243 w 585787"/>
              <a:gd name="connsiteY62" fmla="*/ 158877 h 585787"/>
              <a:gd name="connsiteX63" fmla="*/ 358521 w 585787"/>
              <a:gd name="connsiteY63" fmla="*/ 216884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85787" h="585787">
                <a:moveTo>
                  <a:pt x="530733" y="122301"/>
                </a:moveTo>
                <a:lnTo>
                  <a:pt x="583692" y="69342"/>
                </a:lnTo>
                <a:cubicBezTo>
                  <a:pt x="585692" y="67342"/>
                  <a:pt x="586359" y="64198"/>
                  <a:pt x="585216" y="61532"/>
                </a:cubicBezTo>
                <a:cubicBezTo>
                  <a:pt x="584073" y="58865"/>
                  <a:pt x="581501" y="57150"/>
                  <a:pt x="578644" y="57150"/>
                </a:cubicBezTo>
                <a:lnTo>
                  <a:pt x="537115" y="57150"/>
                </a:lnTo>
                <a:lnTo>
                  <a:pt x="562547" y="31814"/>
                </a:lnTo>
                <a:lnTo>
                  <a:pt x="552450" y="21717"/>
                </a:lnTo>
                <a:lnTo>
                  <a:pt x="528638" y="45625"/>
                </a:lnTo>
                <a:lnTo>
                  <a:pt x="528638" y="7144"/>
                </a:lnTo>
                <a:cubicBezTo>
                  <a:pt x="528638" y="4286"/>
                  <a:pt x="526923" y="1619"/>
                  <a:pt x="524256" y="572"/>
                </a:cubicBezTo>
                <a:cubicBezTo>
                  <a:pt x="521589" y="-476"/>
                  <a:pt x="518541" y="95"/>
                  <a:pt x="516446" y="2096"/>
                </a:cubicBezTo>
                <a:lnTo>
                  <a:pt x="463487" y="55054"/>
                </a:lnTo>
                <a:cubicBezTo>
                  <a:pt x="413575" y="19145"/>
                  <a:pt x="354711" y="0"/>
                  <a:pt x="292894" y="0"/>
                </a:cubicBezTo>
                <a:cubicBezTo>
                  <a:pt x="131350" y="0"/>
                  <a:pt x="0" y="131350"/>
                  <a:pt x="0" y="292894"/>
                </a:cubicBezTo>
                <a:cubicBezTo>
                  <a:pt x="0" y="454438"/>
                  <a:pt x="131350" y="585788"/>
                  <a:pt x="292894" y="585788"/>
                </a:cubicBezTo>
                <a:cubicBezTo>
                  <a:pt x="454438" y="585788"/>
                  <a:pt x="585788" y="454438"/>
                  <a:pt x="585788" y="292894"/>
                </a:cubicBezTo>
                <a:cubicBezTo>
                  <a:pt x="585788" y="230981"/>
                  <a:pt x="566642" y="172212"/>
                  <a:pt x="530733" y="122301"/>
                </a:cubicBezTo>
                <a:close/>
                <a:moveTo>
                  <a:pt x="518541" y="114300"/>
                </a:moveTo>
                <a:lnTo>
                  <a:pt x="480250" y="114300"/>
                </a:lnTo>
                <a:lnTo>
                  <a:pt x="522827" y="71438"/>
                </a:lnTo>
                <a:lnTo>
                  <a:pt x="561404" y="71438"/>
                </a:lnTo>
                <a:lnTo>
                  <a:pt x="518541" y="114300"/>
                </a:lnTo>
                <a:close/>
                <a:moveTo>
                  <a:pt x="514350" y="24384"/>
                </a:moveTo>
                <a:lnTo>
                  <a:pt x="514350" y="60008"/>
                </a:lnTo>
                <a:lnTo>
                  <a:pt x="471488" y="103156"/>
                </a:lnTo>
                <a:lnTo>
                  <a:pt x="471488" y="67342"/>
                </a:lnTo>
                <a:lnTo>
                  <a:pt x="514350" y="24479"/>
                </a:lnTo>
                <a:close/>
                <a:moveTo>
                  <a:pt x="292894" y="571500"/>
                </a:moveTo>
                <a:cubicBezTo>
                  <a:pt x="139256" y="571500"/>
                  <a:pt x="14288" y="446532"/>
                  <a:pt x="14288" y="292894"/>
                </a:cubicBezTo>
                <a:cubicBezTo>
                  <a:pt x="14288" y="139256"/>
                  <a:pt x="139256" y="14288"/>
                  <a:pt x="292894" y="14288"/>
                </a:cubicBezTo>
                <a:cubicBezTo>
                  <a:pt x="352616" y="14288"/>
                  <a:pt x="409289" y="32957"/>
                  <a:pt x="457200" y="68008"/>
                </a:cubicBezTo>
                <a:lnTo>
                  <a:pt x="457200" y="117443"/>
                </a:lnTo>
                <a:lnTo>
                  <a:pt x="426244" y="148590"/>
                </a:lnTo>
                <a:cubicBezTo>
                  <a:pt x="390430" y="116205"/>
                  <a:pt x="343091" y="96298"/>
                  <a:pt x="291084" y="96298"/>
                </a:cubicBezTo>
                <a:cubicBezTo>
                  <a:pt x="179642" y="96298"/>
                  <a:pt x="88964" y="186976"/>
                  <a:pt x="88964" y="298418"/>
                </a:cubicBezTo>
                <a:cubicBezTo>
                  <a:pt x="88964" y="409861"/>
                  <a:pt x="179642" y="500634"/>
                  <a:pt x="291084" y="500634"/>
                </a:cubicBezTo>
                <a:cubicBezTo>
                  <a:pt x="402526" y="500634"/>
                  <a:pt x="493205" y="409956"/>
                  <a:pt x="493205" y="298418"/>
                </a:cubicBezTo>
                <a:cubicBezTo>
                  <a:pt x="493205" y="244030"/>
                  <a:pt x="471488" y="194691"/>
                  <a:pt x="436436" y="158306"/>
                </a:cubicBezTo>
                <a:lnTo>
                  <a:pt x="466058" y="128492"/>
                </a:lnTo>
                <a:lnTo>
                  <a:pt x="517779" y="128492"/>
                </a:lnTo>
                <a:cubicBezTo>
                  <a:pt x="552831" y="176403"/>
                  <a:pt x="571500" y="233077"/>
                  <a:pt x="571500" y="292799"/>
                </a:cubicBezTo>
                <a:cubicBezTo>
                  <a:pt x="571500" y="446437"/>
                  <a:pt x="446532" y="571405"/>
                  <a:pt x="292894" y="571405"/>
                </a:cubicBezTo>
                <a:close/>
                <a:moveTo>
                  <a:pt x="297942" y="297942"/>
                </a:moveTo>
                <a:lnTo>
                  <a:pt x="358521" y="236887"/>
                </a:lnTo>
                <a:cubicBezTo>
                  <a:pt x="372809" y="253079"/>
                  <a:pt x="381572" y="274320"/>
                  <a:pt x="381572" y="297656"/>
                </a:cubicBezTo>
                <a:cubicBezTo>
                  <a:pt x="381572" y="348425"/>
                  <a:pt x="340328" y="389668"/>
                  <a:pt x="289560" y="389668"/>
                </a:cubicBezTo>
                <a:cubicBezTo>
                  <a:pt x="238792" y="389668"/>
                  <a:pt x="197453" y="348425"/>
                  <a:pt x="197453" y="297656"/>
                </a:cubicBezTo>
                <a:cubicBezTo>
                  <a:pt x="197453" y="246888"/>
                  <a:pt x="238792" y="205550"/>
                  <a:pt x="289560" y="205550"/>
                </a:cubicBezTo>
                <a:cubicBezTo>
                  <a:pt x="311944" y="205550"/>
                  <a:pt x="332423" y="213551"/>
                  <a:pt x="348425" y="226886"/>
                </a:cubicBezTo>
                <a:lnTo>
                  <a:pt x="287846" y="287846"/>
                </a:lnTo>
                <a:lnTo>
                  <a:pt x="297942" y="297942"/>
                </a:lnTo>
                <a:close/>
                <a:moveTo>
                  <a:pt x="358426" y="216789"/>
                </a:moveTo>
                <a:cubicBezTo>
                  <a:pt x="339852" y="200882"/>
                  <a:pt x="315849" y="191262"/>
                  <a:pt x="289560" y="191262"/>
                </a:cubicBezTo>
                <a:cubicBezTo>
                  <a:pt x="230886" y="191262"/>
                  <a:pt x="183166" y="238982"/>
                  <a:pt x="183166" y="297656"/>
                </a:cubicBezTo>
                <a:cubicBezTo>
                  <a:pt x="183166" y="356330"/>
                  <a:pt x="230886" y="403955"/>
                  <a:pt x="289560" y="403955"/>
                </a:cubicBezTo>
                <a:cubicBezTo>
                  <a:pt x="348234" y="403955"/>
                  <a:pt x="395859" y="356235"/>
                  <a:pt x="395859" y="297656"/>
                </a:cubicBezTo>
                <a:cubicBezTo>
                  <a:pt x="395859" y="270415"/>
                  <a:pt x="385477" y="245650"/>
                  <a:pt x="368618" y="226790"/>
                </a:cubicBezTo>
                <a:lnTo>
                  <a:pt x="426434" y="168593"/>
                </a:lnTo>
                <a:cubicBezTo>
                  <a:pt x="458915" y="202406"/>
                  <a:pt x="479012" y="248126"/>
                  <a:pt x="479012" y="298609"/>
                </a:cubicBezTo>
                <a:cubicBezTo>
                  <a:pt x="479012" y="402241"/>
                  <a:pt x="394716" y="486537"/>
                  <a:pt x="291179" y="486537"/>
                </a:cubicBezTo>
                <a:cubicBezTo>
                  <a:pt x="187643" y="486537"/>
                  <a:pt x="103346" y="402241"/>
                  <a:pt x="103346" y="298609"/>
                </a:cubicBezTo>
                <a:cubicBezTo>
                  <a:pt x="103346" y="194977"/>
                  <a:pt x="187643" y="110776"/>
                  <a:pt x="291179" y="110776"/>
                </a:cubicBezTo>
                <a:cubicBezTo>
                  <a:pt x="339281" y="110776"/>
                  <a:pt x="383000" y="129064"/>
                  <a:pt x="416243" y="158877"/>
                </a:cubicBezTo>
                <a:lnTo>
                  <a:pt x="358521" y="216884"/>
                </a:ln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Neue Haas Grotesk Text Pro" panose="020B0504020202020204" pitchFamily="34" charset="0"/>
              <a:ea typeface="ＭＳ Ｐゴシック" charset="0"/>
              <a:cs typeface="+mn-cs"/>
            </a:endParaRPr>
          </a:p>
        </p:txBody>
      </p:sp>
      <p:sp>
        <p:nvSpPr>
          <p:cNvPr id="72" name="Freeform 18">
            <a:extLst>
              <a:ext uri="{FF2B5EF4-FFF2-40B4-BE49-F238E27FC236}">
                <a16:creationId xmlns:a16="http://schemas.microsoft.com/office/drawing/2014/main" id="{852451DD-EE7B-8D6A-C390-76B81632984D}"/>
              </a:ext>
            </a:extLst>
          </p:cNvPr>
          <p:cNvSpPr/>
          <p:nvPr/>
        </p:nvSpPr>
        <p:spPr>
          <a:xfrm>
            <a:off x="7298939" y="2692014"/>
            <a:ext cx="335817" cy="335817"/>
          </a:xfrm>
          <a:custGeom>
            <a:avLst/>
            <a:gdLst>
              <a:gd name="connsiteX0" fmla="*/ 299942 w 585787"/>
              <a:gd name="connsiteY0" fmla="*/ 45244 h 585787"/>
              <a:gd name="connsiteX1" fmla="*/ 299942 w 585787"/>
              <a:gd name="connsiteY1" fmla="*/ 60293 h 585787"/>
              <a:gd name="connsiteX2" fmla="*/ 332137 w 585787"/>
              <a:gd name="connsiteY2" fmla="*/ 98869 h 585787"/>
              <a:gd name="connsiteX3" fmla="*/ 317849 w 585787"/>
              <a:gd name="connsiteY3" fmla="*/ 98869 h 585787"/>
              <a:gd name="connsiteX4" fmla="*/ 292894 w 585787"/>
              <a:gd name="connsiteY4" fmla="*/ 73914 h 585787"/>
              <a:gd name="connsiteX5" fmla="*/ 267938 w 585787"/>
              <a:gd name="connsiteY5" fmla="*/ 98869 h 585787"/>
              <a:gd name="connsiteX6" fmla="*/ 292894 w 585787"/>
              <a:gd name="connsiteY6" fmla="*/ 123825 h 585787"/>
              <a:gd name="connsiteX7" fmla="*/ 332137 w 585787"/>
              <a:gd name="connsiteY7" fmla="*/ 163068 h 585787"/>
              <a:gd name="connsiteX8" fmla="*/ 299942 w 585787"/>
              <a:gd name="connsiteY8" fmla="*/ 201644 h 585787"/>
              <a:gd name="connsiteX9" fmla="*/ 299942 w 585787"/>
              <a:gd name="connsiteY9" fmla="*/ 216694 h 585787"/>
              <a:gd name="connsiteX10" fmla="*/ 285655 w 585787"/>
              <a:gd name="connsiteY10" fmla="*/ 216694 h 585787"/>
              <a:gd name="connsiteX11" fmla="*/ 285655 w 585787"/>
              <a:gd name="connsiteY11" fmla="*/ 201644 h 585787"/>
              <a:gd name="connsiteX12" fmla="*/ 253460 w 585787"/>
              <a:gd name="connsiteY12" fmla="*/ 163068 h 585787"/>
              <a:gd name="connsiteX13" fmla="*/ 267748 w 585787"/>
              <a:gd name="connsiteY13" fmla="*/ 163068 h 585787"/>
              <a:gd name="connsiteX14" fmla="*/ 292703 w 585787"/>
              <a:gd name="connsiteY14" fmla="*/ 188024 h 585787"/>
              <a:gd name="connsiteX15" fmla="*/ 317659 w 585787"/>
              <a:gd name="connsiteY15" fmla="*/ 163068 h 585787"/>
              <a:gd name="connsiteX16" fmla="*/ 292703 w 585787"/>
              <a:gd name="connsiteY16" fmla="*/ 138113 h 585787"/>
              <a:gd name="connsiteX17" fmla="*/ 253460 w 585787"/>
              <a:gd name="connsiteY17" fmla="*/ 98869 h 585787"/>
              <a:gd name="connsiteX18" fmla="*/ 285655 w 585787"/>
              <a:gd name="connsiteY18" fmla="*/ 60293 h 585787"/>
              <a:gd name="connsiteX19" fmla="*/ 285655 w 585787"/>
              <a:gd name="connsiteY19" fmla="*/ 45244 h 585787"/>
              <a:gd name="connsiteX20" fmla="*/ 299942 w 585787"/>
              <a:gd name="connsiteY20" fmla="*/ 45244 h 585787"/>
              <a:gd name="connsiteX21" fmla="*/ 585788 w 585787"/>
              <a:gd name="connsiteY21" fmla="*/ 521494 h 585787"/>
              <a:gd name="connsiteX22" fmla="*/ 559594 w 585787"/>
              <a:gd name="connsiteY22" fmla="*/ 547688 h 585787"/>
              <a:gd name="connsiteX23" fmla="*/ 299942 w 585787"/>
              <a:gd name="connsiteY23" fmla="*/ 547688 h 585787"/>
              <a:gd name="connsiteX24" fmla="*/ 299942 w 585787"/>
              <a:gd name="connsiteY24" fmla="*/ 571500 h 585787"/>
              <a:gd name="connsiteX25" fmla="*/ 426244 w 585787"/>
              <a:gd name="connsiteY25" fmla="*/ 571500 h 585787"/>
              <a:gd name="connsiteX26" fmla="*/ 426244 w 585787"/>
              <a:gd name="connsiteY26" fmla="*/ 585788 h 585787"/>
              <a:gd name="connsiteX27" fmla="*/ 159544 w 585787"/>
              <a:gd name="connsiteY27" fmla="*/ 585788 h 585787"/>
              <a:gd name="connsiteX28" fmla="*/ 159544 w 585787"/>
              <a:gd name="connsiteY28" fmla="*/ 571500 h 585787"/>
              <a:gd name="connsiteX29" fmla="*/ 285655 w 585787"/>
              <a:gd name="connsiteY29" fmla="*/ 571500 h 585787"/>
              <a:gd name="connsiteX30" fmla="*/ 285655 w 585787"/>
              <a:gd name="connsiteY30" fmla="*/ 547688 h 585787"/>
              <a:gd name="connsiteX31" fmla="*/ 26194 w 585787"/>
              <a:gd name="connsiteY31" fmla="*/ 547688 h 585787"/>
              <a:gd name="connsiteX32" fmla="*/ 0 w 585787"/>
              <a:gd name="connsiteY32" fmla="*/ 521494 h 585787"/>
              <a:gd name="connsiteX33" fmla="*/ 0 w 585787"/>
              <a:gd name="connsiteY33" fmla="*/ 216694 h 585787"/>
              <a:gd name="connsiteX34" fmla="*/ 26194 w 585787"/>
              <a:gd name="connsiteY34" fmla="*/ 190500 h 585787"/>
              <a:gd name="connsiteX35" fmla="*/ 140399 w 585787"/>
              <a:gd name="connsiteY35" fmla="*/ 190500 h 585787"/>
              <a:gd name="connsiteX36" fmla="*/ 140399 w 585787"/>
              <a:gd name="connsiteY36" fmla="*/ 204788 h 585787"/>
              <a:gd name="connsiteX37" fmla="*/ 26194 w 585787"/>
              <a:gd name="connsiteY37" fmla="*/ 204788 h 585787"/>
              <a:gd name="connsiteX38" fmla="*/ 14288 w 585787"/>
              <a:gd name="connsiteY38" fmla="*/ 216694 h 585787"/>
              <a:gd name="connsiteX39" fmla="*/ 14288 w 585787"/>
              <a:gd name="connsiteY39" fmla="*/ 476250 h 585787"/>
              <a:gd name="connsiteX40" fmla="*/ 571500 w 585787"/>
              <a:gd name="connsiteY40" fmla="*/ 476250 h 585787"/>
              <a:gd name="connsiteX41" fmla="*/ 571500 w 585787"/>
              <a:gd name="connsiteY41" fmla="*/ 216694 h 585787"/>
              <a:gd name="connsiteX42" fmla="*/ 559594 w 585787"/>
              <a:gd name="connsiteY42" fmla="*/ 204788 h 585787"/>
              <a:gd name="connsiteX43" fmla="*/ 445199 w 585787"/>
              <a:gd name="connsiteY43" fmla="*/ 204788 h 585787"/>
              <a:gd name="connsiteX44" fmla="*/ 445199 w 585787"/>
              <a:gd name="connsiteY44" fmla="*/ 190500 h 585787"/>
              <a:gd name="connsiteX45" fmla="*/ 559594 w 585787"/>
              <a:gd name="connsiteY45" fmla="*/ 190500 h 585787"/>
              <a:gd name="connsiteX46" fmla="*/ 585788 w 585787"/>
              <a:gd name="connsiteY46" fmla="*/ 216694 h 585787"/>
              <a:gd name="connsiteX47" fmla="*/ 585788 w 585787"/>
              <a:gd name="connsiteY47" fmla="*/ 521494 h 585787"/>
              <a:gd name="connsiteX48" fmla="*/ 571500 w 585787"/>
              <a:gd name="connsiteY48" fmla="*/ 490538 h 585787"/>
              <a:gd name="connsiteX49" fmla="*/ 14288 w 585787"/>
              <a:gd name="connsiteY49" fmla="*/ 490538 h 585787"/>
              <a:gd name="connsiteX50" fmla="*/ 14288 w 585787"/>
              <a:gd name="connsiteY50" fmla="*/ 521494 h 585787"/>
              <a:gd name="connsiteX51" fmla="*/ 26194 w 585787"/>
              <a:gd name="connsiteY51" fmla="*/ 533400 h 585787"/>
              <a:gd name="connsiteX52" fmla="*/ 559594 w 585787"/>
              <a:gd name="connsiteY52" fmla="*/ 533400 h 585787"/>
              <a:gd name="connsiteX53" fmla="*/ 571500 w 585787"/>
              <a:gd name="connsiteY53" fmla="*/ 521494 h 585787"/>
              <a:gd name="connsiteX54" fmla="*/ 571500 w 585787"/>
              <a:gd name="connsiteY54" fmla="*/ 490538 h 585787"/>
              <a:gd name="connsiteX55" fmla="*/ 292799 w 585787"/>
              <a:gd name="connsiteY55" fmla="*/ 0 h 585787"/>
              <a:gd name="connsiteX56" fmla="*/ 423767 w 585787"/>
              <a:gd name="connsiteY56" fmla="*/ 130969 h 585787"/>
              <a:gd name="connsiteX57" fmla="*/ 292799 w 585787"/>
              <a:gd name="connsiteY57" fmla="*/ 261938 h 585787"/>
              <a:gd name="connsiteX58" fmla="*/ 161830 w 585787"/>
              <a:gd name="connsiteY58" fmla="*/ 130969 h 585787"/>
              <a:gd name="connsiteX59" fmla="*/ 292799 w 585787"/>
              <a:gd name="connsiteY59" fmla="*/ 0 h 585787"/>
              <a:gd name="connsiteX60" fmla="*/ 292799 w 585787"/>
              <a:gd name="connsiteY60" fmla="*/ 14288 h 585787"/>
              <a:gd name="connsiteX61" fmla="*/ 176117 w 585787"/>
              <a:gd name="connsiteY61" fmla="*/ 130969 h 585787"/>
              <a:gd name="connsiteX62" fmla="*/ 292799 w 585787"/>
              <a:gd name="connsiteY62" fmla="*/ 247650 h 585787"/>
              <a:gd name="connsiteX63" fmla="*/ 409480 w 585787"/>
              <a:gd name="connsiteY63" fmla="*/ 130969 h 585787"/>
              <a:gd name="connsiteX64" fmla="*/ 292799 w 585787"/>
              <a:gd name="connsiteY64" fmla="*/ 1428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85787" h="585787">
                <a:moveTo>
                  <a:pt x="299942" y="45244"/>
                </a:moveTo>
                <a:lnTo>
                  <a:pt x="299942" y="60293"/>
                </a:lnTo>
                <a:cubicBezTo>
                  <a:pt x="318230" y="63627"/>
                  <a:pt x="332137" y="79629"/>
                  <a:pt x="332137" y="98869"/>
                </a:cubicBezTo>
                <a:lnTo>
                  <a:pt x="317849" y="98869"/>
                </a:lnTo>
                <a:cubicBezTo>
                  <a:pt x="317849" y="85058"/>
                  <a:pt x="306610" y="73914"/>
                  <a:pt x="292894" y="73914"/>
                </a:cubicBezTo>
                <a:cubicBezTo>
                  <a:pt x="279178" y="73914"/>
                  <a:pt x="267938" y="85154"/>
                  <a:pt x="267938" y="98869"/>
                </a:cubicBezTo>
                <a:cubicBezTo>
                  <a:pt x="267938" y="112586"/>
                  <a:pt x="279178" y="123825"/>
                  <a:pt x="292894" y="123825"/>
                </a:cubicBezTo>
                <a:cubicBezTo>
                  <a:pt x="314516" y="123825"/>
                  <a:pt x="332137" y="141446"/>
                  <a:pt x="332137" y="163068"/>
                </a:cubicBezTo>
                <a:cubicBezTo>
                  <a:pt x="332137" y="182309"/>
                  <a:pt x="318230" y="198215"/>
                  <a:pt x="299942" y="201644"/>
                </a:cubicBezTo>
                <a:lnTo>
                  <a:pt x="299942" y="216694"/>
                </a:lnTo>
                <a:lnTo>
                  <a:pt x="285655" y="216694"/>
                </a:lnTo>
                <a:lnTo>
                  <a:pt x="285655" y="201644"/>
                </a:lnTo>
                <a:cubicBezTo>
                  <a:pt x="267367" y="198311"/>
                  <a:pt x="253460" y="182309"/>
                  <a:pt x="253460" y="163068"/>
                </a:cubicBezTo>
                <a:lnTo>
                  <a:pt x="267748" y="163068"/>
                </a:lnTo>
                <a:cubicBezTo>
                  <a:pt x="267748" y="176879"/>
                  <a:pt x="278987" y="188024"/>
                  <a:pt x="292703" y="188024"/>
                </a:cubicBezTo>
                <a:cubicBezTo>
                  <a:pt x="306419" y="188024"/>
                  <a:pt x="317659" y="176784"/>
                  <a:pt x="317659" y="163068"/>
                </a:cubicBezTo>
                <a:cubicBezTo>
                  <a:pt x="317659" y="149352"/>
                  <a:pt x="306419" y="138113"/>
                  <a:pt x="292703" y="138113"/>
                </a:cubicBezTo>
                <a:cubicBezTo>
                  <a:pt x="271082" y="138113"/>
                  <a:pt x="253460" y="120491"/>
                  <a:pt x="253460" y="98869"/>
                </a:cubicBezTo>
                <a:cubicBezTo>
                  <a:pt x="253460" y="79629"/>
                  <a:pt x="267367" y="63722"/>
                  <a:pt x="285655" y="60293"/>
                </a:cubicBezTo>
                <a:lnTo>
                  <a:pt x="285655" y="45244"/>
                </a:lnTo>
                <a:lnTo>
                  <a:pt x="299942" y="45244"/>
                </a:lnTo>
                <a:close/>
                <a:moveTo>
                  <a:pt x="585788" y="521494"/>
                </a:moveTo>
                <a:cubicBezTo>
                  <a:pt x="585788" y="535972"/>
                  <a:pt x="574072" y="547688"/>
                  <a:pt x="559594" y="547688"/>
                </a:cubicBezTo>
                <a:lnTo>
                  <a:pt x="299942" y="547688"/>
                </a:lnTo>
                <a:lnTo>
                  <a:pt x="299942" y="571500"/>
                </a:lnTo>
                <a:lnTo>
                  <a:pt x="426244" y="571500"/>
                </a:lnTo>
                <a:lnTo>
                  <a:pt x="426244" y="585788"/>
                </a:lnTo>
                <a:lnTo>
                  <a:pt x="159544" y="585788"/>
                </a:lnTo>
                <a:lnTo>
                  <a:pt x="159544" y="571500"/>
                </a:lnTo>
                <a:lnTo>
                  <a:pt x="285655" y="571500"/>
                </a:lnTo>
                <a:lnTo>
                  <a:pt x="285655" y="547688"/>
                </a:lnTo>
                <a:lnTo>
                  <a:pt x="26194" y="547688"/>
                </a:lnTo>
                <a:cubicBezTo>
                  <a:pt x="11716" y="547688"/>
                  <a:pt x="0" y="535972"/>
                  <a:pt x="0" y="521494"/>
                </a:cubicBezTo>
                <a:lnTo>
                  <a:pt x="0" y="216694"/>
                </a:lnTo>
                <a:cubicBezTo>
                  <a:pt x="0" y="202216"/>
                  <a:pt x="11716" y="190500"/>
                  <a:pt x="26194" y="190500"/>
                </a:cubicBezTo>
                <a:lnTo>
                  <a:pt x="140399" y="190500"/>
                </a:lnTo>
                <a:lnTo>
                  <a:pt x="140399" y="204788"/>
                </a:lnTo>
                <a:lnTo>
                  <a:pt x="26194" y="204788"/>
                </a:lnTo>
                <a:cubicBezTo>
                  <a:pt x="19621" y="204788"/>
                  <a:pt x="14288" y="210122"/>
                  <a:pt x="14288" y="216694"/>
                </a:cubicBezTo>
                <a:lnTo>
                  <a:pt x="14288" y="476250"/>
                </a:lnTo>
                <a:lnTo>
                  <a:pt x="571500" y="476250"/>
                </a:lnTo>
                <a:lnTo>
                  <a:pt x="571500" y="216694"/>
                </a:lnTo>
                <a:cubicBezTo>
                  <a:pt x="571500" y="210122"/>
                  <a:pt x="566166" y="204788"/>
                  <a:pt x="559594" y="204788"/>
                </a:cubicBezTo>
                <a:lnTo>
                  <a:pt x="445199" y="204788"/>
                </a:lnTo>
                <a:lnTo>
                  <a:pt x="445199" y="190500"/>
                </a:lnTo>
                <a:lnTo>
                  <a:pt x="559594" y="190500"/>
                </a:lnTo>
                <a:cubicBezTo>
                  <a:pt x="574072" y="190500"/>
                  <a:pt x="585788" y="202216"/>
                  <a:pt x="585788" y="216694"/>
                </a:cubicBezTo>
                <a:lnTo>
                  <a:pt x="585788" y="521494"/>
                </a:lnTo>
                <a:close/>
                <a:moveTo>
                  <a:pt x="571500" y="490538"/>
                </a:moveTo>
                <a:lnTo>
                  <a:pt x="14288" y="490538"/>
                </a:lnTo>
                <a:lnTo>
                  <a:pt x="14288" y="521494"/>
                </a:lnTo>
                <a:cubicBezTo>
                  <a:pt x="14288" y="528066"/>
                  <a:pt x="19621" y="533400"/>
                  <a:pt x="26194" y="533400"/>
                </a:cubicBezTo>
                <a:lnTo>
                  <a:pt x="559594" y="533400"/>
                </a:lnTo>
                <a:cubicBezTo>
                  <a:pt x="566166" y="533400"/>
                  <a:pt x="571500" y="528066"/>
                  <a:pt x="571500" y="521494"/>
                </a:cubicBezTo>
                <a:lnTo>
                  <a:pt x="571500" y="490538"/>
                </a:lnTo>
                <a:close/>
                <a:moveTo>
                  <a:pt x="292799" y="0"/>
                </a:moveTo>
                <a:cubicBezTo>
                  <a:pt x="364998" y="0"/>
                  <a:pt x="423767" y="58769"/>
                  <a:pt x="423767" y="130969"/>
                </a:cubicBezTo>
                <a:cubicBezTo>
                  <a:pt x="423767" y="203168"/>
                  <a:pt x="364998" y="261938"/>
                  <a:pt x="292799" y="261938"/>
                </a:cubicBezTo>
                <a:cubicBezTo>
                  <a:pt x="220599" y="261938"/>
                  <a:pt x="161830" y="203168"/>
                  <a:pt x="161830" y="130969"/>
                </a:cubicBezTo>
                <a:cubicBezTo>
                  <a:pt x="161830" y="58769"/>
                  <a:pt x="220599" y="0"/>
                  <a:pt x="292799" y="0"/>
                </a:cubicBezTo>
                <a:close/>
                <a:moveTo>
                  <a:pt x="292799" y="14288"/>
                </a:moveTo>
                <a:cubicBezTo>
                  <a:pt x="228505" y="14288"/>
                  <a:pt x="176117" y="66675"/>
                  <a:pt x="176117" y="130969"/>
                </a:cubicBezTo>
                <a:cubicBezTo>
                  <a:pt x="176117" y="195263"/>
                  <a:pt x="228505" y="247650"/>
                  <a:pt x="292799" y="247650"/>
                </a:cubicBezTo>
                <a:cubicBezTo>
                  <a:pt x="357092" y="247650"/>
                  <a:pt x="409480" y="195263"/>
                  <a:pt x="409480" y="130969"/>
                </a:cubicBezTo>
                <a:cubicBezTo>
                  <a:pt x="409480" y="66675"/>
                  <a:pt x="357092" y="14288"/>
                  <a:pt x="292799" y="14288"/>
                </a:cubicBezTo>
                <a:close/>
              </a:path>
            </a:pathLst>
          </a:custGeom>
          <a:solidFill>
            <a:schemeClr val="bg1"/>
          </a:solidFill>
          <a:ln w="9525" cap="flat">
            <a:noFill/>
            <a:prstDash val="solid"/>
            <a:miter/>
          </a:ln>
        </p:spPr>
        <p:txBody>
          <a:bodyPr rtlCol="0" anchor="ctr"/>
          <a:lstStyle/>
          <a:p>
            <a:pPr marL="0" marR="0" lvl="0" indent="0" algn="l" defTabSz="457169"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414244"/>
              </a:solidFill>
              <a:effectLst/>
              <a:uLnTx/>
              <a:uFillTx/>
              <a:latin typeface="Neue Haas Grotesk Text Pro" panose="020B0504020202020204" pitchFamily="34" charset="0"/>
              <a:ea typeface="ＭＳ Ｐゴシック" charset="0"/>
              <a:cs typeface="+mn-cs"/>
            </a:endParaRPr>
          </a:p>
        </p:txBody>
      </p:sp>
      <p:sp>
        <p:nvSpPr>
          <p:cNvPr id="73" name="Title 34">
            <a:extLst>
              <a:ext uri="{FF2B5EF4-FFF2-40B4-BE49-F238E27FC236}">
                <a16:creationId xmlns:a16="http://schemas.microsoft.com/office/drawing/2014/main" id="{A8123AA3-41B4-669B-3B4D-803A16D34374}"/>
              </a:ext>
            </a:extLst>
          </p:cNvPr>
          <p:cNvSpPr txBox="1">
            <a:spLocks/>
          </p:cNvSpPr>
          <p:nvPr/>
        </p:nvSpPr>
        <p:spPr>
          <a:xfrm>
            <a:off x="239482" y="2760739"/>
            <a:ext cx="2188100" cy="235449"/>
          </a:xfrm>
          <a:prstGeom prst="rect">
            <a:avLst/>
          </a:prstGeom>
        </p:spPr>
        <p:txBody>
          <a:bodyPr vert="horz" wrap="square" lIns="0" tIns="0" rIns="0" bIns="0" rtlCol="0" anchor="ctr">
            <a:spAutoFit/>
          </a:bodyPr>
          <a:lstStyle>
            <a:lvl1pPr algn="l" defTabSz="914400" rtl="0" eaLnBrk="1" latinLnBrk="0" hangingPunct="1">
              <a:lnSpc>
                <a:spcPct val="85000"/>
              </a:lnSpc>
              <a:spcBef>
                <a:spcPct val="0"/>
              </a:spcBef>
              <a:buNone/>
              <a:defRPr lang="en-US" sz="2200" b="1" i="0" kern="1200" cap="none" dirty="0" smtClean="0">
                <a:solidFill>
                  <a:schemeClr val="tx1"/>
                </a:solidFill>
                <a:latin typeface="Neue Haas Grotesk Text Pro" panose="020B0504020202020204" pitchFamily="34" charset="77"/>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a:ln>
                  <a:noFill/>
                </a:ln>
                <a:solidFill>
                  <a:srgbClr val="F1F1F1"/>
                </a:solidFill>
                <a:effectLst/>
                <a:uLnTx/>
                <a:uFillTx/>
                <a:latin typeface="Neue Haas Grotesk Text Pro" panose="020B0504020202020204" pitchFamily="34" charset="0"/>
                <a:ea typeface="+mj-ea"/>
                <a:cs typeface="+mj-cs"/>
              </a:rPr>
              <a:t>Challenges to solve</a:t>
            </a:r>
          </a:p>
        </p:txBody>
      </p:sp>
      <p:pic>
        <p:nvPicPr>
          <p:cNvPr id="74" name="Graphic 73">
            <a:extLst>
              <a:ext uri="{FF2B5EF4-FFF2-40B4-BE49-F238E27FC236}">
                <a16:creationId xmlns:a16="http://schemas.microsoft.com/office/drawing/2014/main" id="{23425FCC-46EA-F22C-DCBD-77E5C35817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9482" y="2114550"/>
            <a:ext cx="457200" cy="457200"/>
          </a:xfrm>
          <a:prstGeom prst="rect">
            <a:avLst/>
          </a:prstGeom>
        </p:spPr>
      </p:pic>
      <p:cxnSp>
        <p:nvCxnSpPr>
          <p:cNvPr id="75" name="Straight Connector 74">
            <a:extLst>
              <a:ext uri="{FF2B5EF4-FFF2-40B4-BE49-F238E27FC236}">
                <a16:creationId xmlns:a16="http://schemas.microsoft.com/office/drawing/2014/main" id="{098DA306-97DD-BD55-222F-C9B715616F15}"/>
              </a:ext>
            </a:extLst>
          </p:cNvPr>
          <p:cNvCxnSpPr/>
          <p:nvPr/>
        </p:nvCxnSpPr>
        <p:spPr>
          <a:xfrm>
            <a:off x="202688" y="2666245"/>
            <a:ext cx="51803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76" name="Graphic 75">
            <a:extLst>
              <a:ext uri="{FF2B5EF4-FFF2-40B4-BE49-F238E27FC236}">
                <a16:creationId xmlns:a16="http://schemas.microsoft.com/office/drawing/2014/main" id="{D9C51CB1-F421-9321-FA8E-BF37FD618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54688" y="4185836"/>
            <a:ext cx="249382" cy="249382"/>
          </a:xfrm>
          <a:prstGeom prst="rect">
            <a:avLst/>
          </a:prstGeom>
        </p:spPr>
      </p:pic>
    </p:spTree>
    <p:extLst>
      <p:ext uri="{BB962C8B-B14F-4D97-AF65-F5344CB8AC3E}">
        <p14:creationId xmlns:p14="http://schemas.microsoft.com/office/powerpoint/2010/main" val="704836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E71E302D-13B6-EA09-E30F-20841B76CA7A}"/>
              </a:ext>
            </a:extLst>
          </p:cNvPr>
          <p:cNvSpPr>
            <a:spLocks noGrp="1"/>
          </p:cNvSpPr>
          <p:nvPr>
            <p:ph type="title"/>
          </p:nvPr>
        </p:nvSpPr>
        <p:spPr>
          <a:xfrm>
            <a:off x="202687" y="53113"/>
            <a:ext cx="8737013" cy="732441"/>
          </a:xfrm>
        </p:spPr>
        <p:txBody>
          <a:bodyPr vert="horz" wrap="square" lIns="0" tIns="0" rIns="0" bIns="0"/>
          <a:lstStyle/>
          <a:p>
            <a:r>
              <a:rPr lang="en-US" dirty="0"/>
              <a:t>Hitachi Experience in As-a-Service</a:t>
            </a:r>
          </a:p>
        </p:txBody>
      </p:sp>
      <p:sp>
        <p:nvSpPr>
          <p:cNvPr id="22" name="object 11">
            <a:extLst>
              <a:ext uri="{FF2B5EF4-FFF2-40B4-BE49-F238E27FC236}">
                <a16:creationId xmlns:a16="http://schemas.microsoft.com/office/drawing/2014/main" id="{FDBC8270-D8C5-CA94-68AB-E914394494F3}"/>
              </a:ext>
            </a:extLst>
          </p:cNvPr>
          <p:cNvSpPr/>
          <p:nvPr/>
        </p:nvSpPr>
        <p:spPr>
          <a:xfrm>
            <a:off x="202688" y="812799"/>
            <a:ext cx="2123342" cy="3107842"/>
          </a:xfrm>
          <a:prstGeom prst="round2SameRect">
            <a:avLst>
              <a:gd name="adj1" fmla="val 2230"/>
              <a:gd name="adj2" fmla="val 0"/>
            </a:avLst>
          </a:prstGeom>
          <a:solidFill>
            <a:srgbClr val="FFFFFF"/>
          </a:solidFill>
          <a:effectLst>
            <a:outerShdw blurRad="63500" sx="101000" sy="101000" algn="ctr" rotWithShape="0">
              <a:schemeClr val="accent2">
                <a:alpha val="20000"/>
              </a:schemeClr>
            </a:outerShdw>
          </a:effectLst>
        </p:spPr>
        <p:txBody>
          <a:bodyPr wrap="square" lIns="45720" tIns="684000" rIns="45720" bIns="45720" rtlCol="0" anchor="t"/>
          <a:lstStyle/>
          <a:p>
            <a:pPr algn="ctr"/>
            <a:endParaRPr lang="en-US" sz="1400" dirty="0">
              <a:latin typeface="Neue Haas Grotesk Text Pro" panose="020B0504020202020204" pitchFamily="34" charset="0"/>
            </a:endParaRPr>
          </a:p>
          <a:p>
            <a:pPr algn="ctr"/>
            <a:endParaRPr lang="en-US" sz="1400" dirty="0">
              <a:latin typeface="Neue Haas Grotesk Text Pro" panose="020B0504020202020204" pitchFamily="34" charset="0"/>
            </a:endParaRPr>
          </a:p>
          <a:p>
            <a:pPr algn="ctr"/>
            <a:r>
              <a:rPr lang="en-US" sz="1400" dirty="0">
                <a:latin typeface="Neue Haas Grotesk Text Pro" panose="020B0504020202020204" pitchFamily="34" charset="0"/>
              </a:rPr>
              <a:t>Delivering flexible Consumption solutions for </a:t>
            </a:r>
            <a:br>
              <a:rPr lang="en-US" sz="1400" dirty="0">
                <a:latin typeface="Neue Haas Grotesk Text Pro" panose="020B0504020202020204" pitchFamily="34" charset="0"/>
              </a:rPr>
            </a:br>
            <a:r>
              <a:rPr lang="en-US" sz="1400" dirty="0">
                <a:latin typeface="Neue Haas Grotesk Text Pro" panose="020B0504020202020204" pitchFamily="34" charset="0"/>
              </a:rPr>
              <a:t>15+ years</a:t>
            </a:r>
          </a:p>
        </p:txBody>
      </p:sp>
      <p:sp>
        <p:nvSpPr>
          <p:cNvPr id="23" name="object 11">
            <a:extLst>
              <a:ext uri="{FF2B5EF4-FFF2-40B4-BE49-F238E27FC236}">
                <a16:creationId xmlns:a16="http://schemas.microsoft.com/office/drawing/2014/main" id="{FC1EB0C2-829C-A6C5-8117-B2312753C1A4}"/>
              </a:ext>
            </a:extLst>
          </p:cNvPr>
          <p:cNvSpPr/>
          <p:nvPr/>
        </p:nvSpPr>
        <p:spPr>
          <a:xfrm>
            <a:off x="2392624" y="812799"/>
            <a:ext cx="2123342" cy="3107842"/>
          </a:xfrm>
          <a:prstGeom prst="round2SameRect">
            <a:avLst>
              <a:gd name="adj1" fmla="val 2230"/>
              <a:gd name="adj2" fmla="val 0"/>
            </a:avLst>
          </a:prstGeom>
          <a:solidFill>
            <a:srgbClr val="FFFFFF"/>
          </a:solidFill>
          <a:effectLst>
            <a:outerShdw blurRad="63500" sx="101000" sy="101000" algn="ctr" rotWithShape="0">
              <a:schemeClr val="accent2">
                <a:alpha val="20000"/>
              </a:schemeClr>
            </a:outerShdw>
          </a:effectLst>
        </p:spPr>
        <p:txBody>
          <a:bodyPr wrap="square" lIns="45720" tIns="684000" rIns="45720" bIns="45720" rtlCol="0" anchor="t"/>
          <a:lstStyle/>
          <a:p>
            <a:pPr algn="ctr"/>
            <a:endParaRPr lang="en-US" sz="1400" dirty="0">
              <a:latin typeface="Neue Haas Grotesk Text Pro" panose="020B0504020202020204" pitchFamily="34" charset="0"/>
            </a:endParaRPr>
          </a:p>
          <a:p>
            <a:pPr algn="ctr"/>
            <a:r>
              <a:rPr lang="en-US" sz="1400" dirty="0">
                <a:latin typeface="Neue Haas Grotesk Text Pro" panose="020B0504020202020204" pitchFamily="34" charset="0"/>
              </a:rPr>
              <a:t>Solution Scope </a:t>
            </a:r>
            <a:br>
              <a:rPr lang="en-US" sz="1400" dirty="0">
                <a:latin typeface="Neue Haas Grotesk Text Pro" panose="020B0504020202020204" pitchFamily="34" charset="0"/>
              </a:rPr>
            </a:br>
            <a:r>
              <a:rPr lang="en-US" sz="1400" dirty="0">
                <a:latin typeface="Neue Haas Grotesk Text Pro" panose="020B0504020202020204" pitchFamily="34" charset="0"/>
              </a:rPr>
              <a:t>from </a:t>
            </a:r>
            <a:br>
              <a:rPr lang="en-US" sz="1400" b="1" dirty="0">
                <a:latin typeface="Neue Haas Grotesk Text Pro" panose="020B0504020202020204" pitchFamily="34" charset="0"/>
              </a:rPr>
            </a:br>
            <a:r>
              <a:rPr lang="en-US" sz="1400" b="1" dirty="0">
                <a:latin typeface="Neue Haas Grotesk Text Pro" panose="020B0504020202020204" pitchFamily="34" charset="0"/>
              </a:rPr>
              <a:t>$2M to $50M+</a:t>
            </a:r>
          </a:p>
        </p:txBody>
      </p:sp>
      <p:sp>
        <p:nvSpPr>
          <p:cNvPr id="24" name="object 11">
            <a:extLst>
              <a:ext uri="{FF2B5EF4-FFF2-40B4-BE49-F238E27FC236}">
                <a16:creationId xmlns:a16="http://schemas.microsoft.com/office/drawing/2014/main" id="{A02408D2-7076-F08D-7A03-AB39A1575074}"/>
              </a:ext>
            </a:extLst>
          </p:cNvPr>
          <p:cNvSpPr/>
          <p:nvPr/>
        </p:nvSpPr>
        <p:spPr>
          <a:xfrm>
            <a:off x="4582561" y="812799"/>
            <a:ext cx="2123342" cy="3107842"/>
          </a:xfrm>
          <a:prstGeom prst="round2SameRect">
            <a:avLst>
              <a:gd name="adj1" fmla="val 2230"/>
              <a:gd name="adj2" fmla="val 0"/>
            </a:avLst>
          </a:prstGeom>
          <a:solidFill>
            <a:srgbClr val="FFFFFF"/>
          </a:solidFill>
          <a:effectLst>
            <a:outerShdw blurRad="63500" sx="101000" sy="101000" algn="ctr" rotWithShape="0">
              <a:schemeClr val="accent2">
                <a:alpha val="20000"/>
              </a:schemeClr>
            </a:outerShdw>
          </a:effectLst>
        </p:spPr>
        <p:txBody>
          <a:bodyPr wrap="square" lIns="91440" tIns="684000" rIns="91440" bIns="45720" rtlCol="0" anchor="t"/>
          <a:lstStyle/>
          <a:p>
            <a:pPr algn="ctr"/>
            <a:endParaRPr lang="en-US" sz="1400">
              <a:latin typeface="Neue Haas Grotesk Text Pro" panose="020B0504020202020204" pitchFamily="34" charset="0"/>
            </a:endParaRPr>
          </a:p>
          <a:p>
            <a:pPr algn="ctr"/>
            <a:r>
              <a:rPr lang="en-US" sz="1400">
                <a:latin typeface="Neue Haas Grotesk Text Pro" panose="020B0504020202020204" pitchFamily="34" charset="0"/>
              </a:rPr>
              <a:t>BMW Group, Votable Bank, CBTS </a:t>
            </a:r>
            <a:br>
              <a:rPr lang="en-US" sz="1400">
                <a:latin typeface="Neue Haas Grotesk Text Pro" panose="020B0504020202020204" pitchFamily="34" charset="0"/>
              </a:rPr>
            </a:br>
            <a:r>
              <a:rPr lang="en-US" sz="1400">
                <a:latin typeface="Neue Haas Grotesk Text Pro" panose="020B0504020202020204" pitchFamily="34" charset="0"/>
              </a:rPr>
              <a:t>and Deluxe are </a:t>
            </a:r>
            <a:br>
              <a:rPr lang="en-US" sz="1400">
                <a:latin typeface="Neue Haas Grotesk Text Pro" panose="020B0504020202020204" pitchFamily="34" charset="0"/>
              </a:rPr>
            </a:br>
            <a:r>
              <a:rPr lang="en-US" sz="1400">
                <a:latin typeface="Neue Haas Grotesk Text Pro" panose="020B0504020202020204" pitchFamily="34" charset="0"/>
              </a:rPr>
              <a:t>examples of publicly referenceable case studies- for more visit </a:t>
            </a:r>
            <a:r>
              <a:rPr lang="en-US" sz="1400" err="1">
                <a:latin typeface="Neue Haas Grotesk Text Pro" panose="020B0504020202020204" pitchFamily="34" charset="0"/>
              </a:rPr>
              <a:t>HitachiVantara.com</a:t>
            </a:r>
            <a:endParaRPr lang="en-US" sz="1400">
              <a:latin typeface="Neue Haas Grotesk Text Pro" panose="020B0504020202020204" pitchFamily="34" charset="0"/>
            </a:endParaRPr>
          </a:p>
        </p:txBody>
      </p:sp>
      <p:sp>
        <p:nvSpPr>
          <p:cNvPr id="25" name="object 11">
            <a:extLst>
              <a:ext uri="{FF2B5EF4-FFF2-40B4-BE49-F238E27FC236}">
                <a16:creationId xmlns:a16="http://schemas.microsoft.com/office/drawing/2014/main" id="{A0DB1080-8C34-FAA6-6B84-DD671933A8D0}"/>
              </a:ext>
            </a:extLst>
          </p:cNvPr>
          <p:cNvSpPr/>
          <p:nvPr/>
        </p:nvSpPr>
        <p:spPr>
          <a:xfrm>
            <a:off x="6772496" y="812799"/>
            <a:ext cx="2123342" cy="3107842"/>
          </a:xfrm>
          <a:prstGeom prst="round2SameRect">
            <a:avLst>
              <a:gd name="adj1" fmla="val 2230"/>
              <a:gd name="adj2" fmla="val 0"/>
            </a:avLst>
          </a:prstGeom>
          <a:solidFill>
            <a:srgbClr val="FFFFFF"/>
          </a:solidFill>
          <a:effectLst>
            <a:outerShdw blurRad="63500" sx="101000" sy="101000" algn="ctr" rotWithShape="0">
              <a:schemeClr val="accent2">
                <a:alpha val="20000"/>
              </a:schemeClr>
            </a:outerShdw>
          </a:effectLst>
        </p:spPr>
        <p:txBody>
          <a:bodyPr wrap="square" lIns="45720" tIns="684000" rIns="45720" bIns="45720" rtlCol="0" anchor="t"/>
          <a:lstStyle/>
          <a:p>
            <a:pPr algn="ctr"/>
            <a:endParaRPr lang="en-US" sz="1400" dirty="0">
              <a:latin typeface="Neue Haas Grotesk Text Pro" panose="020B0504020202020204" pitchFamily="34" charset="0"/>
            </a:endParaRPr>
          </a:p>
          <a:p>
            <a:pPr algn="ctr"/>
            <a:endParaRPr lang="en-US" sz="1400" dirty="0">
              <a:latin typeface="Neue Haas Grotesk Text Pro" panose="020B0504020202020204" pitchFamily="34" charset="0"/>
            </a:endParaRPr>
          </a:p>
          <a:p>
            <a:pPr algn="ctr"/>
            <a:r>
              <a:rPr lang="en-US" sz="1400">
                <a:latin typeface="Neue Haas Grotesk Text Pro" panose="020B0504020202020204" pitchFamily="34" charset="0"/>
              </a:rPr>
              <a:t>More information </a:t>
            </a:r>
            <a:br>
              <a:rPr lang="en-US" sz="1400" dirty="0">
                <a:latin typeface="Neue Haas Grotesk Text Pro" panose="020B0504020202020204" pitchFamily="34" charset="0"/>
              </a:rPr>
            </a:br>
            <a:r>
              <a:rPr lang="en-US" sz="1400" dirty="0">
                <a:latin typeface="Neue Haas Grotesk Text Pro" panose="020B0504020202020204" pitchFamily="34" charset="0"/>
              </a:rPr>
              <a:t>is available in the Reference &amp; </a:t>
            </a:r>
            <a:br>
              <a:rPr lang="en-US" sz="1400" dirty="0">
                <a:latin typeface="Neue Haas Grotesk Text Pro" panose="020B0504020202020204" pitchFamily="34" charset="0"/>
              </a:rPr>
            </a:br>
            <a:r>
              <a:rPr lang="en-US" sz="1400" dirty="0">
                <a:latin typeface="Neue Haas Grotesk Text Pro" panose="020B0504020202020204" pitchFamily="34" charset="0"/>
              </a:rPr>
              <a:t>Resource Center</a:t>
            </a:r>
          </a:p>
        </p:txBody>
      </p:sp>
      <p:sp>
        <p:nvSpPr>
          <p:cNvPr id="26" name="Rectangle 25">
            <a:extLst>
              <a:ext uri="{FF2B5EF4-FFF2-40B4-BE49-F238E27FC236}">
                <a16:creationId xmlns:a16="http://schemas.microsoft.com/office/drawing/2014/main" id="{D978E732-8253-AF9F-44FA-A54F9BC11ACE}"/>
              </a:ext>
            </a:extLst>
          </p:cNvPr>
          <p:cNvSpPr/>
          <p:nvPr/>
        </p:nvSpPr>
        <p:spPr>
          <a:xfrm>
            <a:off x="202687" y="812800"/>
            <a:ext cx="2123342" cy="59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27" name="Flowchart: Delay 26">
            <a:extLst>
              <a:ext uri="{FF2B5EF4-FFF2-40B4-BE49-F238E27FC236}">
                <a16:creationId xmlns:a16="http://schemas.microsoft.com/office/drawing/2014/main" id="{111A89DE-3DEE-EAE2-5EDA-5354EE302DE2}"/>
              </a:ext>
            </a:extLst>
          </p:cNvPr>
          <p:cNvSpPr/>
          <p:nvPr/>
        </p:nvSpPr>
        <p:spPr>
          <a:xfrm rot="5400000">
            <a:off x="1011198" y="812800"/>
            <a:ext cx="506321" cy="506321"/>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28" name="Rectangle 27">
            <a:extLst>
              <a:ext uri="{FF2B5EF4-FFF2-40B4-BE49-F238E27FC236}">
                <a16:creationId xmlns:a16="http://schemas.microsoft.com/office/drawing/2014/main" id="{50FDB3EE-8A51-847A-69FD-C25732395E9A}"/>
              </a:ext>
            </a:extLst>
          </p:cNvPr>
          <p:cNvSpPr/>
          <p:nvPr/>
        </p:nvSpPr>
        <p:spPr>
          <a:xfrm>
            <a:off x="2392624" y="812800"/>
            <a:ext cx="2123342" cy="59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29" name="Flowchart: Delay 28">
            <a:extLst>
              <a:ext uri="{FF2B5EF4-FFF2-40B4-BE49-F238E27FC236}">
                <a16:creationId xmlns:a16="http://schemas.microsoft.com/office/drawing/2014/main" id="{455356BB-0429-4162-59C1-7DF69D77F1FA}"/>
              </a:ext>
            </a:extLst>
          </p:cNvPr>
          <p:cNvSpPr/>
          <p:nvPr/>
        </p:nvSpPr>
        <p:spPr>
          <a:xfrm rot="5400000">
            <a:off x="3201135" y="812800"/>
            <a:ext cx="506321" cy="506321"/>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30" name="Rectangle 29">
            <a:extLst>
              <a:ext uri="{FF2B5EF4-FFF2-40B4-BE49-F238E27FC236}">
                <a16:creationId xmlns:a16="http://schemas.microsoft.com/office/drawing/2014/main" id="{663DE17E-164C-3095-AD64-F9761C74DF74}"/>
              </a:ext>
            </a:extLst>
          </p:cNvPr>
          <p:cNvSpPr/>
          <p:nvPr/>
        </p:nvSpPr>
        <p:spPr>
          <a:xfrm>
            <a:off x="4582561" y="812800"/>
            <a:ext cx="2123342" cy="59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31" name="Flowchart: Delay 30">
            <a:extLst>
              <a:ext uri="{FF2B5EF4-FFF2-40B4-BE49-F238E27FC236}">
                <a16:creationId xmlns:a16="http://schemas.microsoft.com/office/drawing/2014/main" id="{6D06D7A6-2E86-C083-F903-D0DD31E3DFE2}"/>
              </a:ext>
            </a:extLst>
          </p:cNvPr>
          <p:cNvSpPr/>
          <p:nvPr/>
        </p:nvSpPr>
        <p:spPr>
          <a:xfrm rot="5400000">
            <a:off x="5391072" y="812800"/>
            <a:ext cx="506321" cy="506321"/>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32" name="Rectangle 31">
            <a:extLst>
              <a:ext uri="{FF2B5EF4-FFF2-40B4-BE49-F238E27FC236}">
                <a16:creationId xmlns:a16="http://schemas.microsoft.com/office/drawing/2014/main" id="{E267F394-58D8-FE66-9DC6-BE830B9707AD}"/>
              </a:ext>
            </a:extLst>
          </p:cNvPr>
          <p:cNvSpPr/>
          <p:nvPr/>
        </p:nvSpPr>
        <p:spPr>
          <a:xfrm>
            <a:off x="6772496" y="812800"/>
            <a:ext cx="2123342" cy="590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sp>
        <p:nvSpPr>
          <p:cNvPr id="33" name="Flowchart: Delay 32">
            <a:extLst>
              <a:ext uri="{FF2B5EF4-FFF2-40B4-BE49-F238E27FC236}">
                <a16:creationId xmlns:a16="http://schemas.microsoft.com/office/drawing/2014/main" id="{7E03947B-BDD8-724F-5110-C58829086BF7}"/>
              </a:ext>
            </a:extLst>
          </p:cNvPr>
          <p:cNvSpPr/>
          <p:nvPr/>
        </p:nvSpPr>
        <p:spPr>
          <a:xfrm rot="5400000">
            <a:off x="7581007" y="812800"/>
            <a:ext cx="506321" cy="506321"/>
          </a:xfrm>
          <a:prstGeom prst="flowChartDelay">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a:spcAft>
                <a:spcPts val="300"/>
              </a:spcAft>
              <a:buSzPct val="70000"/>
            </a:pPr>
            <a:endParaRPr lang="en-US" sz="1200">
              <a:solidFill>
                <a:schemeClr val="bg1"/>
              </a:solidFill>
              <a:latin typeface="Neue Haas Grotesk Text Pro" panose="020B0504020202020204" pitchFamily="34" charset="0"/>
            </a:endParaRPr>
          </a:p>
        </p:txBody>
      </p:sp>
      <p:pic>
        <p:nvPicPr>
          <p:cNvPr id="34" name="Picture 33">
            <a:extLst>
              <a:ext uri="{FF2B5EF4-FFF2-40B4-BE49-F238E27FC236}">
                <a16:creationId xmlns:a16="http://schemas.microsoft.com/office/drawing/2014/main" id="{D34A4899-8DE0-EB4E-2034-B91B212FF5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3887"/>
          <a:stretch/>
        </p:blipFill>
        <p:spPr>
          <a:xfrm>
            <a:off x="202688" y="3979715"/>
            <a:ext cx="8693150" cy="814582"/>
          </a:xfrm>
          <a:prstGeom prst="rect">
            <a:avLst/>
          </a:prstGeom>
        </p:spPr>
      </p:pic>
      <p:pic>
        <p:nvPicPr>
          <p:cNvPr id="35" name="Graphic 34">
            <a:extLst>
              <a:ext uri="{FF2B5EF4-FFF2-40B4-BE49-F238E27FC236}">
                <a16:creationId xmlns:a16="http://schemas.microsoft.com/office/drawing/2014/main" id="{40B3C079-2BC5-0E2F-E215-FB4CDE2FBA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6958" y="928560"/>
            <a:ext cx="274801" cy="274801"/>
          </a:xfrm>
          <a:prstGeom prst="rect">
            <a:avLst/>
          </a:prstGeom>
        </p:spPr>
      </p:pic>
      <p:pic>
        <p:nvPicPr>
          <p:cNvPr id="36" name="Graphic 35">
            <a:extLst>
              <a:ext uri="{FF2B5EF4-FFF2-40B4-BE49-F238E27FC236}">
                <a16:creationId xmlns:a16="http://schemas.microsoft.com/office/drawing/2014/main" id="{D6436801-C250-7468-2AC5-21C407A1C4E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06832" y="928560"/>
            <a:ext cx="274801" cy="274801"/>
          </a:xfrm>
          <a:prstGeom prst="rect">
            <a:avLst/>
          </a:prstGeom>
        </p:spPr>
      </p:pic>
      <p:pic>
        <p:nvPicPr>
          <p:cNvPr id="37" name="Graphic 36">
            <a:extLst>
              <a:ext uri="{FF2B5EF4-FFF2-40B4-BE49-F238E27FC236}">
                <a16:creationId xmlns:a16="http://schemas.microsoft.com/office/drawing/2014/main" id="{2D5333D3-DBB0-2135-069E-AC918B09DA7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316893" y="928560"/>
            <a:ext cx="274805" cy="274801"/>
          </a:xfrm>
          <a:prstGeom prst="rect">
            <a:avLst/>
          </a:prstGeom>
        </p:spPr>
      </p:pic>
      <p:pic>
        <p:nvPicPr>
          <p:cNvPr id="38" name="Graphic 37">
            <a:extLst>
              <a:ext uri="{FF2B5EF4-FFF2-40B4-BE49-F238E27FC236}">
                <a16:creationId xmlns:a16="http://schemas.microsoft.com/office/drawing/2014/main" id="{EA2399CC-35F1-5F40-5B1F-FA764D9FE41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696767" y="928560"/>
            <a:ext cx="274801" cy="274801"/>
          </a:xfrm>
          <a:prstGeom prst="rect">
            <a:avLst/>
          </a:prstGeom>
        </p:spPr>
      </p:pic>
    </p:spTree>
    <p:extLst>
      <p:ext uri="{BB962C8B-B14F-4D97-AF65-F5344CB8AC3E}">
        <p14:creationId xmlns:p14="http://schemas.microsoft.com/office/powerpoint/2010/main" val="2802433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62">
            <a:extLst>
              <a:ext uri="{FF2B5EF4-FFF2-40B4-BE49-F238E27FC236}">
                <a16:creationId xmlns:a16="http://schemas.microsoft.com/office/drawing/2014/main" id="{331DD1A5-1B82-8E3B-FCDE-B0987112C011}"/>
              </a:ext>
            </a:extLst>
          </p:cNvPr>
          <p:cNvSpPr/>
          <p:nvPr/>
        </p:nvSpPr>
        <p:spPr>
          <a:xfrm>
            <a:off x="266700" y="1944366"/>
            <a:ext cx="8610600" cy="2844114"/>
          </a:xfrm>
          <a:prstGeom prst="roundRect">
            <a:avLst>
              <a:gd name="adj" fmla="val 1409"/>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330584"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001F60"/>
              </a:solidFill>
              <a:effectLst/>
              <a:uLnTx/>
              <a:uFillTx/>
              <a:latin typeface="Cocomat Pro Light" pitchFamily="2" charset="0"/>
              <a:ea typeface="+mn-ea"/>
              <a:cs typeface="+mn-cs"/>
            </a:endParaRPr>
          </a:p>
        </p:txBody>
      </p:sp>
      <p:sp>
        <p:nvSpPr>
          <p:cNvPr id="5" name="Title 20">
            <a:extLst>
              <a:ext uri="{FF2B5EF4-FFF2-40B4-BE49-F238E27FC236}">
                <a16:creationId xmlns:a16="http://schemas.microsoft.com/office/drawing/2014/main" id="{74A2D424-C7E3-4795-0A7E-D5C081D81D16}"/>
              </a:ext>
            </a:extLst>
          </p:cNvPr>
          <p:cNvSpPr>
            <a:spLocks noGrp="1"/>
          </p:cNvSpPr>
          <p:nvPr>
            <p:ph type="title"/>
          </p:nvPr>
        </p:nvSpPr>
        <p:spPr>
          <a:xfrm>
            <a:off x="264160" y="53113"/>
            <a:ext cx="7051040" cy="732441"/>
          </a:xfrm>
        </p:spPr>
        <p:txBody>
          <a:bodyPr vert="horz"/>
          <a:lstStyle/>
          <a:p>
            <a:r>
              <a:rPr lang="en-US"/>
              <a:t>As-a-Service Portfolio</a:t>
            </a:r>
            <a:br>
              <a:rPr lang="en-US"/>
            </a:br>
            <a:r>
              <a:rPr lang="en-US" sz="1600"/>
              <a:t>Managed &amp; Flexible Consumption Options</a:t>
            </a:r>
          </a:p>
        </p:txBody>
      </p:sp>
      <p:sp>
        <p:nvSpPr>
          <p:cNvPr id="6" name="TextBox 5">
            <a:extLst>
              <a:ext uri="{FF2B5EF4-FFF2-40B4-BE49-F238E27FC236}">
                <a16:creationId xmlns:a16="http://schemas.microsoft.com/office/drawing/2014/main" id="{DC6037AD-EDF2-001B-92D6-B042DE2DE97C}"/>
              </a:ext>
            </a:extLst>
          </p:cNvPr>
          <p:cNvSpPr txBox="1"/>
          <p:nvPr/>
        </p:nvSpPr>
        <p:spPr>
          <a:xfrm>
            <a:off x="264160" y="930646"/>
            <a:ext cx="8610601" cy="923330"/>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sz="1100" b="1">
                <a:ln/>
                <a:solidFill>
                  <a:srgbClr val="00477B"/>
                </a:solidFill>
                <a:latin typeface="Neue Haas Grotesk Text Pro" panose="020B0504020202020204" pitchFamily="34" charset="0"/>
                <a:rtl val="0"/>
              </a:defRPr>
            </a:lvl1pPr>
          </a:lstStyle>
          <a:p>
            <a:r>
              <a:rPr lang="en-US" sz="1200">
                <a:solidFill>
                  <a:schemeClr val="tx1"/>
                </a:solidFill>
                <a:sym typeface="Neue Haas Grotesk Text Pro"/>
              </a:rPr>
              <a:t>EVERFLEX CONTROL</a:t>
            </a:r>
          </a:p>
          <a:p>
            <a:endParaRPr lang="en-US" sz="1200">
              <a:solidFill>
                <a:schemeClr val="tx1"/>
              </a:solidFill>
              <a:sym typeface="Neue Haas Grotesk Text Pro"/>
            </a:endParaRPr>
          </a:p>
          <a:p>
            <a:endParaRPr lang="en-US" sz="1200">
              <a:solidFill>
                <a:schemeClr val="tx1"/>
              </a:solidFill>
              <a:sym typeface="Neue Haas Grotesk Text Pro"/>
            </a:endParaRPr>
          </a:p>
          <a:p>
            <a:endParaRPr lang="en-US" sz="1200">
              <a:solidFill>
                <a:schemeClr val="tx1"/>
              </a:solidFill>
              <a:sym typeface="Neue Haas Grotesk Text Pro"/>
            </a:endParaRPr>
          </a:p>
          <a:p>
            <a:endParaRPr lang="en-US" sz="1200">
              <a:solidFill>
                <a:schemeClr val="tx1"/>
              </a:solidFill>
              <a:sym typeface="Neue Haas Grotesk Text Pro"/>
            </a:endParaRPr>
          </a:p>
        </p:txBody>
      </p:sp>
      <p:sp>
        <p:nvSpPr>
          <p:cNvPr id="7" name="Rounded Rectangle 5">
            <a:extLst>
              <a:ext uri="{FF2B5EF4-FFF2-40B4-BE49-F238E27FC236}">
                <a16:creationId xmlns:a16="http://schemas.microsoft.com/office/drawing/2014/main" id="{2FFD8A9A-418C-57A3-8833-1C2593DDA59E}"/>
              </a:ext>
            </a:extLst>
          </p:cNvPr>
          <p:cNvSpPr/>
          <p:nvPr/>
        </p:nvSpPr>
        <p:spPr>
          <a:xfrm>
            <a:off x="4812594" y="1576403"/>
            <a:ext cx="1477642" cy="228600"/>
          </a:xfrm>
          <a:prstGeom prst="roundRect">
            <a:avLst>
              <a:gd name="adj" fmla="val 24977"/>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Alert Management</a:t>
            </a:r>
          </a:p>
        </p:txBody>
      </p:sp>
      <p:sp>
        <p:nvSpPr>
          <p:cNvPr id="8" name="Rounded Rectangle 50">
            <a:extLst>
              <a:ext uri="{FF2B5EF4-FFF2-40B4-BE49-F238E27FC236}">
                <a16:creationId xmlns:a16="http://schemas.microsoft.com/office/drawing/2014/main" id="{EA44EC23-8326-70DD-62E6-30EE92C0BF93}"/>
              </a:ext>
            </a:extLst>
          </p:cNvPr>
          <p:cNvSpPr/>
          <p:nvPr/>
        </p:nvSpPr>
        <p:spPr>
          <a:xfrm>
            <a:off x="6731779" y="1576403"/>
            <a:ext cx="1477642" cy="228600"/>
          </a:xfrm>
          <a:prstGeom prst="roundRect">
            <a:avLst>
              <a:gd name="adj" fmla="val 24977"/>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AIOps</a:t>
            </a:r>
          </a:p>
        </p:txBody>
      </p:sp>
      <p:pic>
        <p:nvPicPr>
          <p:cNvPr id="9" name="Graphic 8">
            <a:extLst>
              <a:ext uri="{FF2B5EF4-FFF2-40B4-BE49-F238E27FC236}">
                <a16:creationId xmlns:a16="http://schemas.microsoft.com/office/drawing/2014/main" id="{366F1C3E-3785-342E-7E63-3CFE83F5EC1A}"/>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307400" y="1210522"/>
            <a:ext cx="314324" cy="314324"/>
          </a:xfrm>
          <a:prstGeom prst="rect">
            <a:avLst/>
          </a:prstGeom>
        </p:spPr>
      </p:pic>
      <p:sp>
        <p:nvSpPr>
          <p:cNvPr id="10" name="Rounded Rectangle 59">
            <a:extLst>
              <a:ext uri="{FF2B5EF4-FFF2-40B4-BE49-F238E27FC236}">
                <a16:creationId xmlns:a16="http://schemas.microsoft.com/office/drawing/2014/main" id="{E34FE00B-ABB7-7894-0D53-CD7EA834D343}"/>
              </a:ext>
            </a:extLst>
          </p:cNvPr>
          <p:cNvSpPr/>
          <p:nvPr/>
        </p:nvSpPr>
        <p:spPr>
          <a:xfrm>
            <a:off x="827309" y="1576403"/>
            <a:ext cx="1477642" cy="228600"/>
          </a:xfrm>
          <a:prstGeom prst="roundRect">
            <a:avLst>
              <a:gd name="adj" fmla="val 24977"/>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Observability</a:t>
            </a:r>
          </a:p>
        </p:txBody>
      </p:sp>
      <p:pic>
        <p:nvPicPr>
          <p:cNvPr id="11" name="Graphic 10">
            <a:extLst>
              <a:ext uri="{FF2B5EF4-FFF2-40B4-BE49-F238E27FC236}">
                <a16:creationId xmlns:a16="http://schemas.microsoft.com/office/drawing/2014/main" id="{5AE7EA60-71D7-51BE-F393-45323F850E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429648" y="1231203"/>
            <a:ext cx="272966" cy="272964"/>
          </a:xfrm>
          <a:prstGeom prst="rect">
            <a:avLst/>
          </a:prstGeom>
        </p:spPr>
      </p:pic>
      <p:sp>
        <p:nvSpPr>
          <p:cNvPr id="12" name="Rounded Rectangle 5">
            <a:extLst>
              <a:ext uri="{FF2B5EF4-FFF2-40B4-BE49-F238E27FC236}">
                <a16:creationId xmlns:a16="http://schemas.microsoft.com/office/drawing/2014/main" id="{27D56190-B8E6-9D11-1D2C-020B4D36A70D}"/>
              </a:ext>
            </a:extLst>
          </p:cNvPr>
          <p:cNvSpPr/>
          <p:nvPr/>
        </p:nvSpPr>
        <p:spPr>
          <a:xfrm>
            <a:off x="2803171" y="1576403"/>
            <a:ext cx="1635932" cy="230400"/>
          </a:xfrm>
          <a:prstGeom prst="roundRect">
            <a:avLst>
              <a:gd name="adj" fmla="val 24977"/>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rPr>
              <a:t>Self-Service Portal</a:t>
            </a:r>
          </a:p>
        </p:txBody>
      </p:sp>
      <p:pic>
        <p:nvPicPr>
          <p:cNvPr id="13" name="Graphic 12">
            <a:extLst>
              <a:ext uri="{FF2B5EF4-FFF2-40B4-BE49-F238E27FC236}">
                <a16:creationId xmlns:a16="http://schemas.microsoft.com/office/drawing/2014/main" id="{E827FCB0-030D-4A2E-976C-C66AB864A26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08142" y="1189451"/>
            <a:ext cx="356466" cy="356466"/>
          </a:xfrm>
          <a:prstGeom prst="rect">
            <a:avLst/>
          </a:prstGeom>
        </p:spPr>
      </p:pic>
      <p:pic>
        <p:nvPicPr>
          <p:cNvPr id="14" name="Graphic 13" descr="Siren with solid fill">
            <a:extLst>
              <a:ext uri="{FF2B5EF4-FFF2-40B4-BE49-F238E27FC236}">
                <a16:creationId xmlns:a16="http://schemas.microsoft.com/office/drawing/2014/main" id="{0E8FE1ED-B4F9-83A7-5380-6AAB8B3C7B1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289296" y="1156883"/>
            <a:ext cx="421602" cy="421602"/>
          </a:xfrm>
          <a:prstGeom prst="rect">
            <a:avLst/>
          </a:prstGeom>
        </p:spPr>
      </p:pic>
      <p:sp>
        <p:nvSpPr>
          <p:cNvPr id="15" name="TextBox 14">
            <a:extLst>
              <a:ext uri="{FF2B5EF4-FFF2-40B4-BE49-F238E27FC236}">
                <a16:creationId xmlns:a16="http://schemas.microsoft.com/office/drawing/2014/main" id="{68517084-0F88-F4C7-DC20-AB12F846A044}"/>
              </a:ext>
            </a:extLst>
          </p:cNvPr>
          <p:cNvSpPr txBox="1"/>
          <p:nvPr/>
        </p:nvSpPr>
        <p:spPr>
          <a:xfrm>
            <a:off x="6731779" y="2069855"/>
            <a:ext cx="2018301" cy="169277"/>
          </a:xfrm>
          <a:prstGeom prst="rect">
            <a:avLst/>
          </a:prstGeom>
          <a:noFill/>
        </p:spPr>
        <p:txBody>
          <a:bodyPr wrap="square" lIns="0" tIns="0" rIns="0" bIns="0" rtlCol="0">
            <a:spAutoFit/>
          </a:bodyPr>
          <a:lstStyle>
            <a:defPPr>
              <a:defRPr lang="en-US"/>
            </a:defPPr>
            <a:lvl1pPr algn="ctr">
              <a:defRPr sz="1600" b="1">
                <a:ln/>
                <a:solidFill>
                  <a:schemeClr val="bg1"/>
                </a:solidFill>
                <a:latin typeface="Neue Haas Grotesk Text Pro"/>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rgbClr val="00477B"/>
                </a:solidFill>
                <a:latin typeface="Neue Haas Grotesk Text Pro" panose="020B0504020202020204" pitchFamily="34" charset="0"/>
              </a:rPr>
              <a:t>ADD-ON SERVICES</a:t>
            </a:r>
            <a:endParaRPr kumimoji="0" lang="en-US" sz="1100" b="1" i="0" u="none" strike="noStrike" kern="1200" cap="none" spc="0" normalizeH="0" baseline="0" noProof="0">
              <a:ln/>
              <a:solidFill>
                <a:srgbClr val="00477B"/>
              </a:solidFill>
              <a:effectLst/>
              <a:uLnTx/>
              <a:uFillTx/>
              <a:latin typeface="Neue Haas Grotesk Text Pro" panose="020B0504020202020204" pitchFamily="34" charset="0"/>
              <a:ea typeface="+mn-ea"/>
              <a:cs typeface="+mn-cs"/>
              <a:rtl val="0"/>
            </a:endParaRPr>
          </a:p>
        </p:txBody>
      </p:sp>
      <p:sp>
        <p:nvSpPr>
          <p:cNvPr id="16" name="Rounded Rectangle 162">
            <a:extLst>
              <a:ext uri="{FF2B5EF4-FFF2-40B4-BE49-F238E27FC236}">
                <a16:creationId xmlns:a16="http://schemas.microsoft.com/office/drawing/2014/main" id="{3FE33D15-8CD1-8782-F44F-C943BD4520BD}"/>
              </a:ext>
            </a:extLst>
          </p:cNvPr>
          <p:cNvSpPr/>
          <p:nvPr/>
        </p:nvSpPr>
        <p:spPr>
          <a:xfrm>
            <a:off x="6648786" y="2276447"/>
            <a:ext cx="2104689" cy="2456962"/>
          </a:xfrm>
          <a:prstGeom prst="roundRect">
            <a:avLst>
              <a:gd name="adj" fmla="val 3164"/>
            </a:avLst>
          </a:prstGeom>
          <a:solidFill>
            <a:srgbClr val="0046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330584"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1F60"/>
              </a:solidFill>
              <a:effectLst/>
              <a:uLnTx/>
              <a:uFillTx/>
              <a:latin typeface="Neue Haas Grotesk Text Pro" panose="020B0504020202020204" pitchFamily="34" charset="0"/>
              <a:ea typeface="+mn-ea"/>
              <a:cs typeface="+mn-cs"/>
            </a:endParaRPr>
          </a:p>
        </p:txBody>
      </p:sp>
      <p:grpSp>
        <p:nvGrpSpPr>
          <p:cNvPr id="17" name="Group 16">
            <a:extLst>
              <a:ext uri="{FF2B5EF4-FFF2-40B4-BE49-F238E27FC236}">
                <a16:creationId xmlns:a16="http://schemas.microsoft.com/office/drawing/2014/main" id="{E208627B-10F3-C0B6-DAA8-0BDD10105A4C}"/>
              </a:ext>
            </a:extLst>
          </p:cNvPr>
          <p:cNvGrpSpPr/>
          <p:nvPr/>
        </p:nvGrpSpPr>
        <p:grpSpPr>
          <a:xfrm>
            <a:off x="6782084" y="2431680"/>
            <a:ext cx="1838093" cy="611362"/>
            <a:chOff x="6782084" y="2441958"/>
            <a:chExt cx="1838093" cy="611362"/>
          </a:xfrm>
        </p:grpSpPr>
        <p:sp>
          <p:nvSpPr>
            <p:cNvPr id="18" name="Rounded Rectangle 51">
              <a:extLst>
                <a:ext uri="{FF2B5EF4-FFF2-40B4-BE49-F238E27FC236}">
                  <a16:creationId xmlns:a16="http://schemas.microsoft.com/office/drawing/2014/main" id="{ECB159CD-13D4-A333-9E9A-8894A739F7C4}"/>
                </a:ext>
              </a:extLst>
            </p:cNvPr>
            <p:cNvSpPr/>
            <p:nvPr/>
          </p:nvSpPr>
          <p:spPr>
            <a:xfrm>
              <a:off x="6782084" y="2847394"/>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FinOps</a:t>
              </a:r>
            </a:p>
          </p:txBody>
        </p:sp>
        <p:pic>
          <p:nvPicPr>
            <p:cNvPr id="19" name="Graphic 18">
              <a:extLst>
                <a:ext uri="{FF2B5EF4-FFF2-40B4-BE49-F238E27FC236}">
                  <a16:creationId xmlns:a16="http://schemas.microsoft.com/office/drawing/2014/main" id="{72C58BC6-E3EE-5EEF-9260-F6FF70AC6DC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533175" y="2441958"/>
              <a:ext cx="335910" cy="335910"/>
            </a:xfrm>
            <a:prstGeom prst="rect">
              <a:avLst/>
            </a:prstGeom>
          </p:spPr>
        </p:pic>
      </p:grpSp>
      <p:grpSp>
        <p:nvGrpSpPr>
          <p:cNvPr id="20" name="Group 19">
            <a:extLst>
              <a:ext uri="{FF2B5EF4-FFF2-40B4-BE49-F238E27FC236}">
                <a16:creationId xmlns:a16="http://schemas.microsoft.com/office/drawing/2014/main" id="{E099F3B7-A177-AB8C-CB73-447C2A0FBF12}"/>
              </a:ext>
            </a:extLst>
          </p:cNvPr>
          <p:cNvGrpSpPr/>
          <p:nvPr/>
        </p:nvGrpSpPr>
        <p:grpSpPr>
          <a:xfrm>
            <a:off x="6782085" y="3906033"/>
            <a:ext cx="1838093" cy="555391"/>
            <a:chOff x="6782085" y="3916311"/>
            <a:chExt cx="1838093" cy="555391"/>
          </a:xfrm>
        </p:grpSpPr>
        <p:sp>
          <p:nvSpPr>
            <p:cNvPr id="39" name="Rounded Rectangle 3">
              <a:extLst>
                <a:ext uri="{FF2B5EF4-FFF2-40B4-BE49-F238E27FC236}">
                  <a16:creationId xmlns:a16="http://schemas.microsoft.com/office/drawing/2014/main" id="{64E92123-ADCC-58D5-CF13-0DD555E7D08D}"/>
                </a:ext>
              </a:extLst>
            </p:cNvPr>
            <p:cNvSpPr/>
            <p:nvPr/>
          </p:nvSpPr>
          <p:spPr>
            <a:xfrm>
              <a:off x="6782085" y="4265776"/>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414141"/>
                  </a:solidFill>
                  <a:latin typeface="Neue Haas Grotesk Text Pro" panose="020B0504020202020204" pitchFamily="34" charset="0"/>
                </a:rPr>
                <a:t>DevSecOps</a:t>
              </a:r>
            </a:p>
          </p:txBody>
        </p:sp>
        <p:pic>
          <p:nvPicPr>
            <p:cNvPr id="40" name="Graphic 39">
              <a:extLst>
                <a:ext uri="{FF2B5EF4-FFF2-40B4-BE49-F238E27FC236}">
                  <a16:creationId xmlns:a16="http://schemas.microsoft.com/office/drawing/2014/main" id="{96C2D5BC-36B9-07DE-4F76-C39DD2DE89F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552201" y="3916311"/>
              <a:ext cx="297858" cy="297858"/>
            </a:xfrm>
            <a:prstGeom prst="rect">
              <a:avLst/>
            </a:prstGeom>
          </p:spPr>
        </p:pic>
      </p:grpSp>
      <p:grpSp>
        <p:nvGrpSpPr>
          <p:cNvPr id="41" name="Group 40">
            <a:extLst>
              <a:ext uri="{FF2B5EF4-FFF2-40B4-BE49-F238E27FC236}">
                <a16:creationId xmlns:a16="http://schemas.microsoft.com/office/drawing/2014/main" id="{3DC44220-7430-1ABD-4A10-82C54AED70A5}"/>
              </a:ext>
            </a:extLst>
          </p:cNvPr>
          <p:cNvGrpSpPr/>
          <p:nvPr/>
        </p:nvGrpSpPr>
        <p:grpSpPr>
          <a:xfrm>
            <a:off x="6782085" y="3166321"/>
            <a:ext cx="1838093" cy="616434"/>
            <a:chOff x="6782085" y="3122845"/>
            <a:chExt cx="1838093" cy="616434"/>
          </a:xfrm>
        </p:grpSpPr>
        <p:sp>
          <p:nvSpPr>
            <p:cNvPr id="42" name="Rounded Rectangle 13">
              <a:extLst>
                <a:ext uri="{FF2B5EF4-FFF2-40B4-BE49-F238E27FC236}">
                  <a16:creationId xmlns:a16="http://schemas.microsoft.com/office/drawing/2014/main" id="{E3373E9F-6B24-334B-483E-94E9D5D42E4D}"/>
                </a:ext>
              </a:extLst>
            </p:cNvPr>
            <p:cNvSpPr/>
            <p:nvPr/>
          </p:nvSpPr>
          <p:spPr>
            <a:xfrm>
              <a:off x="6782085" y="3533353"/>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Security</a:t>
              </a:r>
              <a:r>
                <a:rPr lang="en-US" sz="1100" b="1">
                  <a:solidFill>
                    <a:srgbClr val="414141"/>
                  </a:solidFill>
                  <a:latin typeface="Neue Haas Grotesk Text Pro" panose="020B0504020202020204" pitchFamily="34" charset="0"/>
                </a:rPr>
                <a:t>/</a:t>
              </a: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Ransomware</a:t>
              </a:r>
            </a:p>
          </p:txBody>
        </p:sp>
        <p:pic>
          <p:nvPicPr>
            <p:cNvPr id="43" name="Graphic 42">
              <a:extLst>
                <a:ext uri="{FF2B5EF4-FFF2-40B4-BE49-F238E27FC236}">
                  <a16:creationId xmlns:a16="http://schemas.microsoft.com/office/drawing/2014/main" id="{8037D8EC-0329-CEF6-92E9-EFCFD7BAEC7E}"/>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7523302" y="3122845"/>
              <a:ext cx="355656" cy="355656"/>
            </a:xfrm>
            <a:prstGeom prst="rect">
              <a:avLst/>
            </a:prstGeom>
          </p:spPr>
        </p:pic>
      </p:grpSp>
      <p:sp>
        <p:nvSpPr>
          <p:cNvPr id="44" name="Rounded Rectangle 162">
            <a:extLst>
              <a:ext uri="{FF2B5EF4-FFF2-40B4-BE49-F238E27FC236}">
                <a16:creationId xmlns:a16="http://schemas.microsoft.com/office/drawing/2014/main" id="{8F7E7284-48E6-7343-8E09-7CD43BE953B8}"/>
              </a:ext>
            </a:extLst>
          </p:cNvPr>
          <p:cNvSpPr/>
          <p:nvPr/>
        </p:nvSpPr>
        <p:spPr>
          <a:xfrm>
            <a:off x="318797" y="2276447"/>
            <a:ext cx="2118409" cy="2456962"/>
          </a:xfrm>
          <a:prstGeom prst="roundRect">
            <a:avLst>
              <a:gd name="adj" fmla="val 232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ounded Rectangle 12">
            <a:extLst>
              <a:ext uri="{FF2B5EF4-FFF2-40B4-BE49-F238E27FC236}">
                <a16:creationId xmlns:a16="http://schemas.microsoft.com/office/drawing/2014/main" id="{D0855597-8A83-2C06-28CC-339FEFDE28F6}"/>
              </a:ext>
            </a:extLst>
          </p:cNvPr>
          <p:cNvSpPr/>
          <p:nvPr/>
        </p:nvSpPr>
        <p:spPr>
          <a:xfrm>
            <a:off x="452924" y="4251616"/>
            <a:ext cx="1925559"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Hybrid Cloud Containers</a:t>
            </a:r>
          </a:p>
        </p:txBody>
      </p:sp>
      <p:grpSp>
        <p:nvGrpSpPr>
          <p:cNvPr id="46" name="Group 45">
            <a:extLst>
              <a:ext uri="{FF2B5EF4-FFF2-40B4-BE49-F238E27FC236}">
                <a16:creationId xmlns:a16="http://schemas.microsoft.com/office/drawing/2014/main" id="{F0E36333-CCB9-8FE4-B057-8D28868D1438}"/>
              </a:ext>
            </a:extLst>
          </p:cNvPr>
          <p:cNvGrpSpPr>
            <a:grpSpLocks noChangeAspect="1"/>
          </p:cNvGrpSpPr>
          <p:nvPr/>
        </p:nvGrpSpPr>
        <p:grpSpPr>
          <a:xfrm>
            <a:off x="1263666" y="3902151"/>
            <a:ext cx="304074" cy="297858"/>
            <a:chOff x="3150769" y="1526762"/>
            <a:chExt cx="293417" cy="287420"/>
          </a:xfrm>
          <a:solidFill>
            <a:schemeClr val="bg1"/>
          </a:solidFill>
        </p:grpSpPr>
        <p:sp>
          <p:nvSpPr>
            <p:cNvPr id="47" name="Freeform 28">
              <a:extLst>
                <a:ext uri="{FF2B5EF4-FFF2-40B4-BE49-F238E27FC236}">
                  <a16:creationId xmlns:a16="http://schemas.microsoft.com/office/drawing/2014/main" id="{F80782AE-CA07-41F2-9969-D342B6CD975E}"/>
                </a:ext>
              </a:extLst>
            </p:cNvPr>
            <p:cNvSpPr/>
            <p:nvPr/>
          </p:nvSpPr>
          <p:spPr>
            <a:xfrm>
              <a:off x="3150769" y="1526762"/>
              <a:ext cx="293417" cy="287420"/>
            </a:xfrm>
            <a:custGeom>
              <a:avLst/>
              <a:gdLst>
                <a:gd name="connsiteX0" fmla="*/ 199921 w 293417"/>
                <a:gd name="connsiteY0" fmla="*/ 287421 h 287420"/>
                <a:gd name="connsiteX1" fmla="*/ 93489 w 293417"/>
                <a:gd name="connsiteY1" fmla="*/ 287421 h 287420"/>
                <a:gd name="connsiteX2" fmla="*/ 72173 w 293417"/>
                <a:gd name="connsiteY2" fmla="*/ 277164 h 287420"/>
                <a:gd name="connsiteX3" fmla="*/ 5808 w 293417"/>
                <a:gd name="connsiteY3" fmla="*/ 193942 h 287420"/>
                <a:gd name="connsiteX4" fmla="*/ 547 w 293417"/>
                <a:gd name="connsiteY4" fmla="*/ 170872 h 287420"/>
                <a:gd name="connsiteX5" fmla="*/ 24231 w 293417"/>
                <a:gd name="connsiteY5" fmla="*/ 67116 h 287420"/>
                <a:gd name="connsiteX6" fmla="*/ 38990 w 293417"/>
                <a:gd name="connsiteY6" fmla="*/ 48616 h 287420"/>
                <a:gd name="connsiteX7" fmla="*/ 134877 w 293417"/>
                <a:gd name="connsiteY7" fmla="*/ 2441 h 287420"/>
                <a:gd name="connsiteX8" fmla="*/ 158547 w 293417"/>
                <a:gd name="connsiteY8" fmla="*/ 2441 h 287420"/>
                <a:gd name="connsiteX9" fmla="*/ 254429 w 293417"/>
                <a:gd name="connsiteY9" fmla="*/ 48609 h 287420"/>
                <a:gd name="connsiteX10" fmla="*/ 269187 w 293417"/>
                <a:gd name="connsiteY10" fmla="*/ 67102 h 287420"/>
                <a:gd name="connsiteX11" fmla="*/ 292871 w 293417"/>
                <a:gd name="connsiteY11" fmla="*/ 170864 h 287420"/>
                <a:gd name="connsiteX12" fmla="*/ 287597 w 293417"/>
                <a:gd name="connsiteY12" fmla="*/ 193941 h 287420"/>
                <a:gd name="connsiteX13" fmla="*/ 221255 w 293417"/>
                <a:gd name="connsiteY13" fmla="*/ 277153 h 287420"/>
                <a:gd name="connsiteX14" fmla="*/ 199932 w 293417"/>
                <a:gd name="connsiteY14" fmla="*/ 287415 h 287420"/>
                <a:gd name="connsiteX15" fmla="*/ 14013 w 293417"/>
                <a:gd name="connsiteY15" fmla="*/ 173942 h 287420"/>
                <a:gd name="connsiteX16" fmla="*/ 16609 w 293417"/>
                <a:gd name="connsiteY16" fmla="*/ 185326 h 287420"/>
                <a:gd name="connsiteX17" fmla="*/ 82975 w 293417"/>
                <a:gd name="connsiteY17" fmla="*/ 268547 h 287420"/>
                <a:gd name="connsiteX18" fmla="*/ 93495 w 293417"/>
                <a:gd name="connsiteY18" fmla="*/ 273609 h 287420"/>
                <a:gd name="connsiteX19" fmla="*/ 199927 w 293417"/>
                <a:gd name="connsiteY19" fmla="*/ 273609 h 287420"/>
                <a:gd name="connsiteX20" fmla="*/ 210454 w 293417"/>
                <a:gd name="connsiteY20" fmla="*/ 268541 h 287420"/>
                <a:gd name="connsiteX21" fmla="*/ 276797 w 293417"/>
                <a:gd name="connsiteY21" fmla="*/ 185330 h 287420"/>
                <a:gd name="connsiteX22" fmla="*/ 279406 w 293417"/>
                <a:gd name="connsiteY22" fmla="*/ 173940 h 287420"/>
                <a:gd name="connsiteX23" fmla="*/ 255722 w 293417"/>
                <a:gd name="connsiteY23" fmla="*/ 70183 h 287420"/>
                <a:gd name="connsiteX24" fmla="*/ 248433 w 293417"/>
                <a:gd name="connsiteY24" fmla="*/ 61058 h 287420"/>
                <a:gd name="connsiteX25" fmla="*/ 152545 w 293417"/>
                <a:gd name="connsiteY25" fmla="*/ 14884 h 287420"/>
                <a:gd name="connsiteX26" fmla="*/ 140865 w 293417"/>
                <a:gd name="connsiteY26" fmla="*/ 14884 h 287420"/>
                <a:gd name="connsiteX27" fmla="*/ 44972 w 293417"/>
                <a:gd name="connsiteY27" fmla="*/ 61065 h 287420"/>
                <a:gd name="connsiteX28" fmla="*/ 37682 w 293417"/>
                <a:gd name="connsiteY28" fmla="*/ 70190 h 287420"/>
                <a:gd name="connsiteX29" fmla="*/ 13998 w 293417"/>
                <a:gd name="connsiteY29" fmla="*/ 173946 h 28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3417" h="287420">
                  <a:moveTo>
                    <a:pt x="199921" y="287421"/>
                  </a:moveTo>
                  <a:lnTo>
                    <a:pt x="93489" y="287421"/>
                  </a:lnTo>
                  <a:cubicBezTo>
                    <a:pt x="86006" y="287421"/>
                    <a:pt x="76845" y="283009"/>
                    <a:pt x="72173" y="277164"/>
                  </a:cubicBezTo>
                  <a:lnTo>
                    <a:pt x="5808" y="193942"/>
                  </a:lnTo>
                  <a:cubicBezTo>
                    <a:pt x="1140" y="188096"/>
                    <a:pt x="-1122" y="178184"/>
                    <a:pt x="547" y="170872"/>
                  </a:cubicBezTo>
                  <a:lnTo>
                    <a:pt x="24231" y="67116"/>
                  </a:lnTo>
                  <a:cubicBezTo>
                    <a:pt x="25894" y="59819"/>
                    <a:pt x="32240" y="51867"/>
                    <a:pt x="38990" y="48616"/>
                  </a:cubicBezTo>
                  <a:lnTo>
                    <a:pt x="134877" y="2441"/>
                  </a:lnTo>
                  <a:cubicBezTo>
                    <a:pt x="141621" y="-810"/>
                    <a:pt x="151788" y="-817"/>
                    <a:pt x="158547" y="2441"/>
                  </a:cubicBezTo>
                  <a:lnTo>
                    <a:pt x="254429" y="48609"/>
                  </a:lnTo>
                  <a:cubicBezTo>
                    <a:pt x="261172" y="51854"/>
                    <a:pt x="267518" y="59799"/>
                    <a:pt x="269187" y="67102"/>
                  </a:cubicBezTo>
                  <a:lnTo>
                    <a:pt x="292871" y="170864"/>
                  </a:lnTo>
                  <a:cubicBezTo>
                    <a:pt x="294541" y="178167"/>
                    <a:pt x="292271" y="188088"/>
                    <a:pt x="287597" y="193941"/>
                  </a:cubicBezTo>
                  <a:lnTo>
                    <a:pt x="221255" y="277153"/>
                  </a:lnTo>
                  <a:cubicBezTo>
                    <a:pt x="216574" y="283009"/>
                    <a:pt x="207415" y="287415"/>
                    <a:pt x="199932" y="287415"/>
                  </a:cubicBezTo>
                  <a:close/>
                  <a:moveTo>
                    <a:pt x="14013" y="173942"/>
                  </a:moveTo>
                  <a:cubicBezTo>
                    <a:pt x="13288" y="177138"/>
                    <a:pt x="14573" y="182771"/>
                    <a:pt x="16609" y="185326"/>
                  </a:cubicBezTo>
                  <a:lnTo>
                    <a:pt x="82975" y="268547"/>
                  </a:lnTo>
                  <a:cubicBezTo>
                    <a:pt x="85011" y="271101"/>
                    <a:pt x="90230" y="273609"/>
                    <a:pt x="93495" y="273609"/>
                  </a:cubicBezTo>
                  <a:lnTo>
                    <a:pt x="199927" y="273609"/>
                  </a:lnTo>
                  <a:cubicBezTo>
                    <a:pt x="203198" y="273609"/>
                    <a:pt x="208409" y="271101"/>
                    <a:pt x="210454" y="268541"/>
                  </a:cubicBezTo>
                  <a:lnTo>
                    <a:pt x="276797" y="185330"/>
                  </a:lnTo>
                  <a:cubicBezTo>
                    <a:pt x="278846" y="182769"/>
                    <a:pt x="280132" y="177129"/>
                    <a:pt x="279406" y="173940"/>
                  </a:cubicBezTo>
                  <a:lnTo>
                    <a:pt x="255722" y="70183"/>
                  </a:lnTo>
                  <a:cubicBezTo>
                    <a:pt x="254989" y="66995"/>
                    <a:pt x="251381" y="62474"/>
                    <a:pt x="248433" y="61058"/>
                  </a:cubicBezTo>
                  <a:lnTo>
                    <a:pt x="152545" y="14884"/>
                  </a:lnTo>
                  <a:cubicBezTo>
                    <a:pt x="149590" y="13455"/>
                    <a:pt x="143813" y="13462"/>
                    <a:pt x="140865" y="14884"/>
                  </a:cubicBezTo>
                  <a:lnTo>
                    <a:pt x="44972" y="61065"/>
                  </a:lnTo>
                  <a:cubicBezTo>
                    <a:pt x="42024" y="62480"/>
                    <a:pt x="38415" y="67001"/>
                    <a:pt x="37682" y="70190"/>
                  </a:cubicBezTo>
                  <a:lnTo>
                    <a:pt x="13998" y="173946"/>
                  </a:ln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48" name="Freeform 29">
              <a:extLst>
                <a:ext uri="{FF2B5EF4-FFF2-40B4-BE49-F238E27FC236}">
                  <a16:creationId xmlns:a16="http://schemas.microsoft.com/office/drawing/2014/main" id="{AC618F8C-2018-DEA5-7156-E95B23625253}"/>
                </a:ext>
              </a:extLst>
            </p:cNvPr>
            <p:cNvSpPr/>
            <p:nvPr/>
          </p:nvSpPr>
          <p:spPr>
            <a:xfrm>
              <a:off x="3290577" y="1571235"/>
              <a:ext cx="13805" cy="96663"/>
            </a:xfrm>
            <a:custGeom>
              <a:avLst/>
              <a:gdLst>
                <a:gd name="connsiteX0" fmla="*/ 6903 w 13805"/>
                <a:gd name="connsiteY0" fmla="*/ 96664 h 96663"/>
                <a:gd name="connsiteX1" fmla="*/ 0 w 13805"/>
                <a:gd name="connsiteY1" fmla="*/ 89761 h 96663"/>
                <a:gd name="connsiteX2" fmla="*/ 0 w 13805"/>
                <a:gd name="connsiteY2" fmla="*/ 6903 h 96663"/>
                <a:gd name="connsiteX3" fmla="*/ 6903 w 13805"/>
                <a:gd name="connsiteY3" fmla="*/ 0 h 96663"/>
                <a:gd name="connsiteX4" fmla="*/ 13806 w 13805"/>
                <a:gd name="connsiteY4" fmla="*/ 6903 h 96663"/>
                <a:gd name="connsiteX5" fmla="*/ 13806 w 13805"/>
                <a:gd name="connsiteY5" fmla="*/ 89761 h 96663"/>
                <a:gd name="connsiteX6" fmla="*/ 6903 w 13805"/>
                <a:gd name="connsiteY6" fmla="*/ 96664 h 9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05" h="96663">
                  <a:moveTo>
                    <a:pt x="6903" y="96664"/>
                  </a:moveTo>
                  <a:cubicBezTo>
                    <a:pt x="3085" y="96664"/>
                    <a:pt x="0" y="93579"/>
                    <a:pt x="0" y="89761"/>
                  </a:cubicBezTo>
                  <a:lnTo>
                    <a:pt x="0" y="6903"/>
                  </a:lnTo>
                  <a:cubicBezTo>
                    <a:pt x="0" y="3085"/>
                    <a:pt x="3085" y="0"/>
                    <a:pt x="6903" y="0"/>
                  </a:cubicBezTo>
                  <a:cubicBezTo>
                    <a:pt x="10721" y="0"/>
                    <a:pt x="13806" y="3085"/>
                    <a:pt x="13806" y="6903"/>
                  </a:cubicBezTo>
                  <a:lnTo>
                    <a:pt x="13806" y="89761"/>
                  </a:lnTo>
                  <a:cubicBezTo>
                    <a:pt x="13806" y="93579"/>
                    <a:pt x="10721" y="96664"/>
                    <a:pt x="6903" y="96664"/>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49" name="Freeform 30">
              <a:extLst>
                <a:ext uri="{FF2B5EF4-FFF2-40B4-BE49-F238E27FC236}">
                  <a16:creationId xmlns:a16="http://schemas.microsoft.com/office/drawing/2014/main" id="{784D1CD7-B13A-23F2-682E-2692410D6854}"/>
                </a:ext>
              </a:extLst>
            </p:cNvPr>
            <p:cNvSpPr/>
            <p:nvPr/>
          </p:nvSpPr>
          <p:spPr>
            <a:xfrm>
              <a:off x="3213264" y="1608470"/>
              <a:ext cx="78591" cy="65462"/>
            </a:xfrm>
            <a:custGeom>
              <a:avLst/>
              <a:gdLst>
                <a:gd name="connsiteX0" fmla="*/ 71681 w 78591"/>
                <a:gd name="connsiteY0" fmla="*/ 65463 h 65462"/>
                <a:gd name="connsiteX1" fmla="*/ 67387 w 78591"/>
                <a:gd name="connsiteY1" fmla="*/ 63957 h 65462"/>
                <a:gd name="connsiteX2" fmla="*/ 2603 w 78591"/>
                <a:gd name="connsiteY2" fmla="*/ 12302 h 65462"/>
                <a:gd name="connsiteX3" fmla="*/ 1507 w 78591"/>
                <a:gd name="connsiteY3" fmla="*/ 2604 h 65462"/>
                <a:gd name="connsiteX4" fmla="*/ 11205 w 78591"/>
                <a:gd name="connsiteY4" fmla="*/ 1508 h 65462"/>
                <a:gd name="connsiteX5" fmla="*/ 75989 w 78591"/>
                <a:gd name="connsiteY5" fmla="*/ 53163 h 65462"/>
                <a:gd name="connsiteX6" fmla="*/ 77085 w 78591"/>
                <a:gd name="connsiteY6" fmla="*/ 62861 h 65462"/>
                <a:gd name="connsiteX7" fmla="*/ 71681 w 78591"/>
                <a:gd name="connsiteY7" fmla="*/ 65463 h 6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91" h="65462">
                  <a:moveTo>
                    <a:pt x="71681" y="65463"/>
                  </a:moveTo>
                  <a:cubicBezTo>
                    <a:pt x="70176" y="65463"/>
                    <a:pt x="68656" y="64972"/>
                    <a:pt x="67387" y="63957"/>
                  </a:cubicBezTo>
                  <a:lnTo>
                    <a:pt x="2603" y="12302"/>
                  </a:lnTo>
                  <a:cubicBezTo>
                    <a:pt x="-385" y="9920"/>
                    <a:pt x="-869" y="5579"/>
                    <a:pt x="1507" y="2604"/>
                  </a:cubicBezTo>
                  <a:cubicBezTo>
                    <a:pt x="3895" y="-378"/>
                    <a:pt x="8230" y="-875"/>
                    <a:pt x="11205" y="1508"/>
                  </a:cubicBezTo>
                  <a:lnTo>
                    <a:pt x="75989" y="53163"/>
                  </a:lnTo>
                  <a:cubicBezTo>
                    <a:pt x="78977" y="55544"/>
                    <a:pt x="79460" y="59886"/>
                    <a:pt x="77085" y="62861"/>
                  </a:cubicBezTo>
                  <a:cubicBezTo>
                    <a:pt x="75719" y="64573"/>
                    <a:pt x="73710" y="65463"/>
                    <a:pt x="71681" y="65463"/>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0" name="Freeform 31">
              <a:extLst>
                <a:ext uri="{FF2B5EF4-FFF2-40B4-BE49-F238E27FC236}">
                  <a16:creationId xmlns:a16="http://schemas.microsoft.com/office/drawing/2014/main" id="{0C34B1AB-296E-3979-78C4-B47DE8E7DAC3}"/>
                </a:ext>
              </a:extLst>
            </p:cNvPr>
            <p:cNvSpPr/>
            <p:nvPr/>
          </p:nvSpPr>
          <p:spPr>
            <a:xfrm>
              <a:off x="3194170" y="1673685"/>
              <a:ext cx="94584" cy="32248"/>
            </a:xfrm>
            <a:custGeom>
              <a:avLst/>
              <a:gdLst>
                <a:gd name="connsiteX0" fmla="*/ 6898 w 94584"/>
                <a:gd name="connsiteY0" fmla="*/ 32249 h 32248"/>
                <a:gd name="connsiteX1" fmla="*/ 175 w 94584"/>
                <a:gd name="connsiteY1" fmla="*/ 26885 h 32248"/>
                <a:gd name="connsiteX2" fmla="*/ 5365 w 94584"/>
                <a:gd name="connsiteY2" fmla="*/ 18623 h 32248"/>
                <a:gd name="connsiteX3" fmla="*/ 86147 w 94584"/>
                <a:gd name="connsiteY3" fmla="*/ 179 h 32248"/>
                <a:gd name="connsiteX4" fmla="*/ 94409 w 94584"/>
                <a:gd name="connsiteY4" fmla="*/ 5370 h 32248"/>
                <a:gd name="connsiteX5" fmla="*/ 89219 w 94584"/>
                <a:gd name="connsiteY5" fmla="*/ 13632 h 32248"/>
                <a:gd name="connsiteX6" fmla="*/ 8437 w 94584"/>
                <a:gd name="connsiteY6" fmla="*/ 32076 h 32248"/>
                <a:gd name="connsiteX7" fmla="*/ 6891 w 94584"/>
                <a:gd name="connsiteY7" fmla="*/ 32249 h 3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584" h="32248">
                  <a:moveTo>
                    <a:pt x="6898" y="32249"/>
                  </a:moveTo>
                  <a:cubicBezTo>
                    <a:pt x="3750" y="32249"/>
                    <a:pt x="908" y="30087"/>
                    <a:pt x="175" y="26885"/>
                  </a:cubicBezTo>
                  <a:cubicBezTo>
                    <a:pt x="-675" y="23171"/>
                    <a:pt x="1651" y="19472"/>
                    <a:pt x="5365" y="18623"/>
                  </a:cubicBezTo>
                  <a:lnTo>
                    <a:pt x="86147" y="179"/>
                  </a:lnTo>
                  <a:cubicBezTo>
                    <a:pt x="89848" y="-683"/>
                    <a:pt x="93560" y="1649"/>
                    <a:pt x="94409" y="5370"/>
                  </a:cubicBezTo>
                  <a:cubicBezTo>
                    <a:pt x="95259" y="9084"/>
                    <a:pt x="92933" y="12783"/>
                    <a:pt x="89219" y="13632"/>
                  </a:cubicBezTo>
                  <a:lnTo>
                    <a:pt x="8437" y="32076"/>
                  </a:lnTo>
                  <a:cubicBezTo>
                    <a:pt x="7921" y="32199"/>
                    <a:pt x="7408" y="32249"/>
                    <a:pt x="6891" y="32249"/>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1" name="Freeform 32">
              <a:extLst>
                <a:ext uri="{FF2B5EF4-FFF2-40B4-BE49-F238E27FC236}">
                  <a16:creationId xmlns:a16="http://schemas.microsoft.com/office/drawing/2014/main" id="{B2913EE5-775E-F11C-3B4F-F194FEDC80DB}"/>
                </a:ext>
              </a:extLst>
            </p:cNvPr>
            <p:cNvSpPr/>
            <p:nvPr/>
          </p:nvSpPr>
          <p:spPr>
            <a:xfrm>
              <a:off x="3247664" y="1684536"/>
              <a:ext cx="49761" cy="88459"/>
            </a:xfrm>
            <a:custGeom>
              <a:avLst/>
              <a:gdLst>
                <a:gd name="connsiteX0" fmla="*/ 6902 w 49761"/>
                <a:gd name="connsiteY0" fmla="*/ 88460 h 88459"/>
                <a:gd name="connsiteX1" fmla="*/ 3914 w 49761"/>
                <a:gd name="connsiteY1" fmla="*/ 87775 h 88459"/>
                <a:gd name="connsiteX2" fmla="*/ 682 w 49761"/>
                <a:gd name="connsiteY2" fmla="*/ 78560 h 88459"/>
                <a:gd name="connsiteX3" fmla="*/ 36633 w 49761"/>
                <a:gd name="connsiteY3" fmla="*/ 3912 h 88459"/>
                <a:gd name="connsiteX4" fmla="*/ 45848 w 49761"/>
                <a:gd name="connsiteY4" fmla="*/ 680 h 88459"/>
                <a:gd name="connsiteX5" fmla="*/ 49080 w 49761"/>
                <a:gd name="connsiteY5" fmla="*/ 9896 h 88459"/>
                <a:gd name="connsiteX6" fmla="*/ 13129 w 49761"/>
                <a:gd name="connsiteY6" fmla="*/ 84548 h 88459"/>
                <a:gd name="connsiteX7" fmla="*/ 6903 w 49761"/>
                <a:gd name="connsiteY7" fmla="*/ 88454 h 8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61" h="88459">
                  <a:moveTo>
                    <a:pt x="6902" y="88460"/>
                  </a:moveTo>
                  <a:cubicBezTo>
                    <a:pt x="5893" y="88460"/>
                    <a:pt x="4880" y="88247"/>
                    <a:pt x="3914" y="87775"/>
                  </a:cubicBezTo>
                  <a:cubicBezTo>
                    <a:pt x="476" y="86118"/>
                    <a:pt x="-967" y="81994"/>
                    <a:pt x="682" y="78560"/>
                  </a:cubicBezTo>
                  <a:lnTo>
                    <a:pt x="36633" y="3912"/>
                  </a:lnTo>
                  <a:cubicBezTo>
                    <a:pt x="38296" y="467"/>
                    <a:pt x="42423" y="-962"/>
                    <a:pt x="45848" y="680"/>
                  </a:cubicBezTo>
                  <a:cubicBezTo>
                    <a:pt x="49286" y="2336"/>
                    <a:pt x="50729" y="6464"/>
                    <a:pt x="49080" y="9896"/>
                  </a:cubicBezTo>
                  <a:lnTo>
                    <a:pt x="13129" y="84548"/>
                  </a:lnTo>
                  <a:cubicBezTo>
                    <a:pt x="11936" y="87016"/>
                    <a:pt x="9471" y="88454"/>
                    <a:pt x="6903" y="88454"/>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2" name="Freeform 33">
              <a:extLst>
                <a:ext uri="{FF2B5EF4-FFF2-40B4-BE49-F238E27FC236}">
                  <a16:creationId xmlns:a16="http://schemas.microsoft.com/office/drawing/2014/main" id="{9B53DBAC-35CA-8E44-520F-60C33244B909}"/>
                </a:ext>
              </a:extLst>
            </p:cNvPr>
            <p:cNvSpPr/>
            <p:nvPr/>
          </p:nvSpPr>
          <p:spPr>
            <a:xfrm>
              <a:off x="3297527" y="1684549"/>
              <a:ext cx="49768" cy="88452"/>
            </a:xfrm>
            <a:custGeom>
              <a:avLst/>
              <a:gdLst>
                <a:gd name="connsiteX0" fmla="*/ 42866 w 49768"/>
                <a:gd name="connsiteY0" fmla="*/ 88447 h 88452"/>
                <a:gd name="connsiteX1" fmla="*/ 36640 w 49768"/>
                <a:gd name="connsiteY1" fmla="*/ 84541 h 88452"/>
                <a:gd name="connsiteX2" fmla="*/ 682 w 49768"/>
                <a:gd name="connsiteY2" fmla="*/ 9896 h 88452"/>
                <a:gd name="connsiteX3" fmla="*/ 3913 w 49768"/>
                <a:gd name="connsiteY3" fmla="*/ 680 h 88452"/>
                <a:gd name="connsiteX4" fmla="*/ 13129 w 49768"/>
                <a:gd name="connsiteY4" fmla="*/ 3912 h 88452"/>
                <a:gd name="connsiteX5" fmla="*/ 49086 w 49768"/>
                <a:gd name="connsiteY5" fmla="*/ 78553 h 88452"/>
                <a:gd name="connsiteX6" fmla="*/ 45855 w 49768"/>
                <a:gd name="connsiteY6" fmla="*/ 87768 h 88452"/>
                <a:gd name="connsiteX7" fmla="*/ 42867 w 49768"/>
                <a:gd name="connsiteY7" fmla="*/ 88453 h 8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68" h="88452">
                  <a:moveTo>
                    <a:pt x="42866" y="88447"/>
                  </a:moveTo>
                  <a:cubicBezTo>
                    <a:pt x="40297" y="88447"/>
                    <a:pt x="37835" y="87009"/>
                    <a:pt x="36640" y="84541"/>
                  </a:cubicBezTo>
                  <a:lnTo>
                    <a:pt x="682" y="9896"/>
                  </a:lnTo>
                  <a:cubicBezTo>
                    <a:pt x="-967" y="6464"/>
                    <a:pt x="476" y="2337"/>
                    <a:pt x="3913" y="680"/>
                  </a:cubicBezTo>
                  <a:cubicBezTo>
                    <a:pt x="7352" y="-962"/>
                    <a:pt x="11473" y="467"/>
                    <a:pt x="13129" y="3912"/>
                  </a:cubicBezTo>
                  <a:lnTo>
                    <a:pt x="49086" y="78553"/>
                  </a:lnTo>
                  <a:cubicBezTo>
                    <a:pt x="50735" y="81987"/>
                    <a:pt x="49293" y="86117"/>
                    <a:pt x="45855" y="87768"/>
                  </a:cubicBezTo>
                  <a:cubicBezTo>
                    <a:pt x="44889" y="88234"/>
                    <a:pt x="43873" y="88453"/>
                    <a:pt x="42867" y="88453"/>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3" name="Freeform 34">
              <a:extLst>
                <a:ext uri="{FF2B5EF4-FFF2-40B4-BE49-F238E27FC236}">
                  <a16:creationId xmlns:a16="http://schemas.microsoft.com/office/drawing/2014/main" id="{DC8C9397-6C1D-26C1-8CE6-85B6FE88C545}"/>
                </a:ext>
              </a:extLst>
            </p:cNvPr>
            <p:cNvSpPr/>
            <p:nvPr/>
          </p:nvSpPr>
          <p:spPr>
            <a:xfrm>
              <a:off x="3306197" y="1673685"/>
              <a:ext cx="94584" cy="32242"/>
            </a:xfrm>
            <a:custGeom>
              <a:avLst/>
              <a:gdLst>
                <a:gd name="connsiteX0" fmla="*/ 87693 w 94584"/>
                <a:gd name="connsiteY0" fmla="*/ 32242 h 32242"/>
                <a:gd name="connsiteX1" fmla="*/ 86147 w 94584"/>
                <a:gd name="connsiteY1" fmla="*/ 32069 h 32242"/>
                <a:gd name="connsiteX2" fmla="*/ 5365 w 94584"/>
                <a:gd name="connsiteY2" fmla="*/ 13632 h 32242"/>
                <a:gd name="connsiteX3" fmla="*/ 175 w 94584"/>
                <a:gd name="connsiteY3" fmla="*/ 5370 h 32242"/>
                <a:gd name="connsiteX4" fmla="*/ 8437 w 94584"/>
                <a:gd name="connsiteY4" fmla="*/ 180 h 32242"/>
                <a:gd name="connsiteX5" fmla="*/ 89219 w 94584"/>
                <a:gd name="connsiteY5" fmla="*/ 18617 h 32242"/>
                <a:gd name="connsiteX6" fmla="*/ 94409 w 94584"/>
                <a:gd name="connsiteY6" fmla="*/ 26879 h 32242"/>
                <a:gd name="connsiteX7" fmla="*/ 87686 w 94584"/>
                <a:gd name="connsiteY7" fmla="*/ 32242 h 3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584" h="32242">
                  <a:moveTo>
                    <a:pt x="87693" y="32242"/>
                  </a:moveTo>
                  <a:cubicBezTo>
                    <a:pt x="87183" y="32242"/>
                    <a:pt x="86671" y="32186"/>
                    <a:pt x="86147" y="32069"/>
                  </a:cubicBezTo>
                  <a:lnTo>
                    <a:pt x="5365" y="13632"/>
                  </a:lnTo>
                  <a:cubicBezTo>
                    <a:pt x="1651" y="12783"/>
                    <a:pt x="-675" y="9091"/>
                    <a:pt x="175" y="5370"/>
                  </a:cubicBezTo>
                  <a:cubicBezTo>
                    <a:pt x="1025" y="1649"/>
                    <a:pt x="4710" y="-683"/>
                    <a:pt x="8437" y="180"/>
                  </a:cubicBezTo>
                  <a:lnTo>
                    <a:pt x="89219" y="18617"/>
                  </a:lnTo>
                  <a:cubicBezTo>
                    <a:pt x="92933" y="19466"/>
                    <a:pt x="95259" y="23165"/>
                    <a:pt x="94409" y="26879"/>
                  </a:cubicBezTo>
                  <a:cubicBezTo>
                    <a:pt x="93684" y="30081"/>
                    <a:pt x="90835" y="32242"/>
                    <a:pt x="87686" y="32242"/>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4" name="Freeform 35">
              <a:extLst>
                <a:ext uri="{FF2B5EF4-FFF2-40B4-BE49-F238E27FC236}">
                  <a16:creationId xmlns:a16="http://schemas.microsoft.com/office/drawing/2014/main" id="{C319AD29-5731-F623-1E27-9DB1D132B770}"/>
                </a:ext>
              </a:extLst>
            </p:cNvPr>
            <p:cNvSpPr/>
            <p:nvPr/>
          </p:nvSpPr>
          <p:spPr>
            <a:xfrm>
              <a:off x="3303106" y="1608466"/>
              <a:ext cx="78587" cy="65466"/>
            </a:xfrm>
            <a:custGeom>
              <a:avLst/>
              <a:gdLst>
                <a:gd name="connsiteX0" fmla="*/ 6909 w 78587"/>
                <a:gd name="connsiteY0" fmla="*/ 65467 h 65466"/>
                <a:gd name="connsiteX1" fmla="*/ 1504 w 78587"/>
                <a:gd name="connsiteY1" fmla="*/ 62865 h 65466"/>
                <a:gd name="connsiteX2" fmla="*/ 2601 w 78587"/>
                <a:gd name="connsiteY2" fmla="*/ 53167 h 65466"/>
                <a:gd name="connsiteX3" fmla="*/ 67385 w 78587"/>
                <a:gd name="connsiteY3" fmla="*/ 1505 h 65466"/>
                <a:gd name="connsiteX4" fmla="*/ 77083 w 78587"/>
                <a:gd name="connsiteY4" fmla="*/ 2601 h 65466"/>
                <a:gd name="connsiteX5" fmla="*/ 75986 w 78587"/>
                <a:gd name="connsiteY5" fmla="*/ 12299 h 65466"/>
                <a:gd name="connsiteX6" fmla="*/ 11203 w 78587"/>
                <a:gd name="connsiteY6" fmla="*/ 63961 h 65466"/>
                <a:gd name="connsiteX7" fmla="*/ 6909 w 78587"/>
                <a:gd name="connsiteY7" fmla="*/ 65467 h 6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7" h="65466">
                  <a:moveTo>
                    <a:pt x="6909" y="65467"/>
                  </a:moveTo>
                  <a:cubicBezTo>
                    <a:pt x="4880" y="65467"/>
                    <a:pt x="2870" y="64577"/>
                    <a:pt x="1504" y="62865"/>
                  </a:cubicBezTo>
                  <a:cubicBezTo>
                    <a:pt x="-870" y="59883"/>
                    <a:pt x="-381" y="55542"/>
                    <a:pt x="2601" y="53167"/>
                  </a:cubicBezTo>
                  <a:lnTo>
                    <a:pt x="67385" y="1505"/>
                  </a:lnTo>
                  <a:cubicBezTo>
                    <a:pt x="70367" y="-871"/>
                    <a:pt x="74708" y="-381"/>
                    <a:pt x="77083" y="2601"/>
                  </a:cubicBezTo>
                  <a:cubicBezTo>
                    <a:pt x="79458" y="5583"/>
                    <a:pt x="78968" y="9924"/>
                    <a:pt x="75986" y="12299"/>
                  </a:cubicBezTo>
                  <a:lnTo>
                    <a:pt x="11203" y="63961"/>
                  </a:lnTo>
                  <a:cubicBezTo>
                    <a:pt x="9933" y="64970"/>
                    <a:pt x="8414" y="65467"/>
                    <a:pt x="6909" y="65467"/>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5" name="Freeform 36">
              <a:extLst>
                <a:ext uri="{FF2B5EF4-FFF2-40B4-BE49-F238E27FC236}">
                  <a16:creationId xmlns:a16="http://schemas.microsoft.com/office/drawing/2014/main" id="{115052C2-35CA-4E86-322D-4D81DB274813}"/>
                </a:ext>
              </a:extLst>
            </p:cNvPr>
            <p:cNvSpPr/>
            <p:nvPr/>
          </p:nvSpPr>
          <p:spPr>
            <a:xfrm>
              <a:off x="3281448" y="1660997"/>
              <a:ext cx="32058" cy="32058"/>
            </a:xfrm>
            <a:custGeom>
              <a:avLst/>
              <a:gdLst>
                <a:gd name="connsiteX0" fmla="*/ 32058 w 32058"/>
                <a:gd name="connsiteY0" fmla="*/ 16030 h 32058"/>
                <a:gd name="connsiteX1" fmla="*/ 16028 w 32058"/>
                <a:gd name="connsiteY1" fmla="*/ 32058 h 32058"/>
                <a:gd name="connsiteX2" fmla="*/ 0 w 32058"/>
                <a:gd name="connsiteY2" fmla="*/ 16030 h 32058"/>
                <a:gd name="connsiteX3" fmla="*/ 16028 w 32058"/>
                <a:gd name="connsiteY3" fmla="*/ 0 h 32058"/>
                <a:gd name="connsiteX4" fmla="*/ 32058 w 32058"/>
                <a:gd name="connsiteY4" fmla="*/ 16030 h 32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58" h="32058">
                  <a:moveTo>
                    <a:pt x="32058" y="16030"/>
                  </a:moveTo>
                  <a:cubicBezTo>
                    <a:pt x="32058" y="24882"/>
                    <a:pt x="24881" y="32058"/>
                    <a:pt x="16028" y="32058"/>
                  </a:cubicBezTo>
                  <a:cubicBezTo>
                    <a:pt x="7177" y="32058"/>
                    <a:pt x="0" y="24881"/>
                    <a:pt x="0" y="16030"/>
                  </a:cubicBezTo>
                  <a:cubicBezTo>
                    <a:pt x="0" y="7177"/>
                    <a:pt x="7177" y="0"/>
                    <a:pt x="16028" y="0"/>
                  </a:cubicBezTo>
                  <a:cubicBezTo>
                    <a:pt x="24882" y="0"/>
                    <a:pt x="32058" y="7177"/>
                    <a:pt x="32058" y="16030"/>
                  </a:cubicBezTo>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
          <p:nvSpPr>
            <p:cNvPr id="56" name="Freeform 37">
              <a:extLst>
                <a:ext uri="{FF2B5EF4-FFF2-40B4-BE49-F238E27FC236}">
                  <a16:creationId xmlns:a16="http://schemas.microsoft.com/office/drawing/2014/main" id="{F8AC5883-3E19-BB98-DD1F-9973FD58814E}"/>
                </a:ext>
              </a:extLst>
            </p:cNvPr>
            <p:cNvSpPr/>
            <p:nvPr/>
          </p:nvSpPr>
          <p:spPr>
            <a:xfrm>
              <a:off x="3208921" y="1588457"/>
              <a:ext cx="177117" cy="177117"/>
            </a:xfrm>
            <a:custGeom>
              <a:avLst/>
              <a:gdLst>
                <a:gd name="connsiteX0" fmla="*/ 88559 w 177117"/>
                <a:gd name="connsiteY0" fmla="*/ 177117 h 177117"/>
                <a:gd name="connsiteX1" fmla="*/ 0 w 177117"/>
                <a:gd name="connsiteY1" fmla="*/ 88559 h 177117"/>
                <a:gd name="connsiteX2" fmla="*/ 88559 w 177117"/>
                <a:gd name="connsiteY2" fmla="*/ 0 h 177117"/>
                <a:gd name="connsiteX3" fmla="*/ 177117 w 177117"/>
                <a:gd name="connsiteY3" fmla="*/ 88559 h 177117"/>
                <a:gd name="connsiteX4" fmla="*/ 88559 w 177117"/>
                <a:gd name="connsiteY4" fmla="*/ 177117 h 177117"/>
                <a:gd name="connsiteX5" fmla="*/ 88559 w 177117"/>
                <a:gd name="connsiteY5" fmla="*/ 13812 h 177117"/>
                <a:gd name="connsiteX6" fmla="*/ 13806 w 177117"/>
                <a:gd name="connsiteY6" fmla="*/ 88564 h 177117"/>
                <a:gd name="connsiteX7" fmla="*/ 88559 w 177117"/>
                <a:gd name="connsiteY7" fmla="*/ 163317 h 177117"/>
                <a:gd name="connsiteX8" fmla="*/ 163312 w 177117"/>
                <a:gd name="connsiteY8" fmla="*/ 88564 h 177117"/>
                <a:gd name="connsiteX9" fmla="*/ 88559 w 177117"/>
                <a:gd name="connsiteY9" fmla="*/ 13812 h 17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17" h="177117">
                  <a:moveTo>
                    <a:pt x="88559" y="177117"/>
                  </a:moveTo>
                  <a:cubicBezTo>
                    <a:pt x="39728" y="177117"/>
                    <a:pt x="0" y="137392"/>
                    <a:pt x="0" y="88559"/>
                  </a:cubicBezTo>
                  <a:cubicBezTo>
                    <a:pt x="0" y="39728"/>
                    <a:pt x="39726" y="0"/>
                    <a:pt x="88559" y="0"/>
                  </a:cubicBezTo>
                  <a:cubicBezTo>
                    <a:pt x="137389" y="0"/>
                    <a:pt x="177117" y="39726"/>
                    <a:pt x="177117" y="88559"/>
                  </a:cubicBezTo>
                  <a:cubicBezTo>
                    <a:pt x="177117" y="137389"/>
                    <a:pt x="137392" y="177117"/>
                    <a:pt x="88559" y="177117"/>
                  </a:cubicBezTo>
                  <a:close/>
                  <a:moveTo>
                    <a:pt x="88559" y="13812"/>
                  </a:moveTo>
                  <a:cubicBezTo>
                    <a:pt x="47341" y="13812"/>
                    <a:pt x="13806" y="47347"/>
                    <a:pt x="13806" y="88564"/>
                  </a:cubicBezTo>
                  <a:cubicBezTo>
                    <a:pt x="13806" y="129782"/>
                    <a:pt x="47341" y="163317"/>
                    <a:pt x="88559" y="163317"/>
                  </a:cubicBezTo>
                  <a:cubicBezTo>
                    <a:pt x="129776" y="163317"/>
                    <a:pt x="163312" y="129782"/>
                    <a:pt x="163312" y="88564"/>
                  </a:cubicBezTo>
                  <a:cubicBezTo>
                    <a:pt x="163312" y="47347"/>
                    <a:pt x="129777" y="13812"/>
                    <a:pt x="88559" y="13812"/>
                  </a:cubicBezTo>
                  <a:close/>
                </a:path>
              </a:pathLst>
            </a:custGeom>
            <a:grpFill/>
            <a:ln w="5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grpSp>
      <p:sp>
        <p:nvSpPr>
          <p:cNvPr id="57" name="Rounded Rectangle 4">
            <a:extLst>
              <a:ext uri="{FF2B5EF4-FFF2-40B4-BE49-F238E27FC236}">
                <a16:creationId xmlns:a16="http://schemas.microsoft.com/office/drawing/2014/main" id="{E15D0AAD-AC62-3F5B-A12E-336F1E9E9F29}"/>
              </a:ext>
            </a:extLst>
          </p:cNvPr>
          <p:cNvSpPr/>
          <p:nvPr/>
        </p:nvSpPr>
        <p:spPr>
          <a:xfrm>
            <a:off x="496657" y="3577711"/>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Hybrid Cloud VMs</a:t>
            </a:r>
          </a:p>
        </p:txBody>
      </p:sp>
      <p:pic>
        <p:nvPicPr>
          <p:cNvPr id="58" name="Graphic 57">
            <a:extLst>
              <a:ext uri="{FF2B5EF4-FFF2-40B4-BE49-F238E27FC236}">
                <a16:creationId xmlns:a16="http://schemas.microsoft.com/office/drawing/2014/main" id="{DB9CA542-D3B7-980B-0CEB-9F2A8557DC45}"/>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237874" y="3157675"/>
            <a:ext cx="355658" cy="355656"/>
          </a:xfrm>
          <a:prstGeom prst="rect">
            <a:avLst/>
          </a:prstGeom>
        </p:spPr>
      </p:pic>
      <p:sp>
        <p:nvSpPr>
          <p:cNvPr id="59" name="Rounded Rectangle 11">
            <a:extLst>
              <a:ext uri="{FF2B5EF4-FFF2-40B4-BE49-F238E27FC236}">
                <a16:creationId xmlns:a16="http://schemas.microsoft.com/office/drawing/2014/main" id="{B80396C4-3E98-0F82-B044-840D725CD458}"/>
              </a:ext>
            </a:extLst>
          </p:cNvPr>
          <p:cNvSpPr/>
          <p:nvPr/>
        </p:nvSpPr>
        <p:spPr>
          <a:xfrm>
            <a:off x="496657" y="2833234"/>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Multi-Cloud</a:t>
            </a:r>
          </a:p>
        </p:txBody>
      </p:sp>
      <p:pic>
        <p:nvPicPr>
          <p:cNvPr id="60" name="Graphic 59">
            <a:extLst>
              <a:ext uri="{FF2B5EF4-FFF2-40B4-BE49-F238E27FC236}">
                <a16:creationId xmlns:a16="http://schemas.microsoft.com/office/drawing/2014/main" id="{E3660989-E6F5-13DC-B904-4CE75F11EA9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238557" y="2395581"/>
            <a:ext cx="354293" cy="361524"/>
          </a:xfrm>
          <a:prstGeom prst="rect">
            <a:avLst/>
          </a:prstGeom>
        </p:spPr>
      </p:pic>
      <p:sp>
        <p:nvSpPr>
          <p:cNvPr id="61" name="TextBox 60">
            <a:extLst>
              <a:ext uri="{FF2B5EF4-FFF2-40B4-BE49-F238E27FC236}">
                <a16:creationId xmlns:a16="http://schemas.microsoft.com/office/drawing/2014/main" id="{9A094616-8741-C3E9-F4FA-0AAEAA020A56}"/>
              </a:ext>
            </a:extLst>
          </p:cNvPr>
          <p:cNvSpPr txBox="1"/>
          <p:nvPr/>
        </p:nvSpPr>
        <p:spPr>
          <a:xfrm>
            <a:off x="264160" y="2069855"/>
            <a:ext cx="2362372" cy="169277"/>
          </a:xfrm>
          <a:prstGeom prst="rect">
            <a:avLst/>
          </a:prstGeom>
          <a:noFill/>
        </p:spPr>
        <p:txBody>
          <a:bodyPr wrap="square" lIns="0" tIns="0" rIns="0" bIns="0" rtlCol="0">
            <a:spAutoFit/>
          </a:bodyPr>
          <a:lstStyle>
            <a:defPPr>
              <a:defRPr lang="en-US"/>
            </a:defPPr>
            <a:lvl1pPr algn="ctr">
              <a:defRPr sz="1600" b="1">
                <a:ln/>
                <a:solidFill>
                  <a:schemeClr val="bg1"/>
                </a:solidFill>
                <a:latin typeface="Neue Haas Grotesk Text Pro"/>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477B"/>
                </a:solidFill>
                <a:effectLst/>
                <a:uLnTx/>
                <a:uFillTx/>
                <a:latin typeface="Neue Haas Grotesk Text Pro" panose="020B0504020202020204" pitchFamily="34" charset="0"/>
                <a:ea typeface="+mn-ea"/>
                <a:cs typeface="+mn-cs"/>
                <a:rtl val="0"/>
              </a:rPr>
              <a:t>CISCO </a:t>
            </a:r>
            <a:r>
              <a:rPr lang="en-US" sz="1100">
                <a:solidFill>
                  <a:srgbClr val="00477B"/>
                </a:solidFill>
                <a:latin typeface="Neue Haas Grotesk Text Pro" panose="020B0504020202020204" pitchFamily="34" charset="0"/>
              </a:rPr>
              <a:t>POWERED </a:t>
            </a:r>
            <a:r>
              <a:rPr kumimoji="0" lang="en-US" sz="1100" b="1" i="0" u="none" strike="noStrike" kern="1200" cap="none" spc="0" normalizeH="0" baseline="0" noProof="0">
                <a:ln/>
                <a:solidFill>
                  <a:srgbClr val="00477B"/>
                </a:solidFill>
                <a:effectLst/>
                <a:uLnTx/>
                <a:uFillTx/>
                <a:latin typeface="Neue Haas Grotesk Text Pro" panose="020B0504020202020204" pitchFamily="34" charset="0"/>
                <a:ea typeface="+mn-ea"/>
                <a:cs typeface="+mn-cs"/>
                <a:rtl val="0"/>
              </a:rPr>
              <a:t>SOLUTIONS</a:t>
            </a:r>
          </a:p>
        </p:txBody>
      </p:sp>
      <p:sp>
        <p:nvSpPr>
          <p:cNvPr id="62" name="TextBox 61">
            <a:extLst>
              <a:ext uri="{FF2B5EF4-FFF2-40B4-BE49-F238E27FC236}">
                <a16:creationId xmlns:a16="http://schemas.microsoft.com/office/drawing/2014/main" id="{BE7F847D-9D8B-49D6-ABB0-8E06386093F0}"/>
              </a:ext>
            </a:extLst>
          </p:cNvPr>
          <p:cNvSpPr txBox="1"/>
          <p:nvPr/>
        </p:nvSpPr>
        <p:spPr>
          <a:xfrm>
            <a:off x="3338143" y="2069855"/>
            <a:ext cx="2223239" cy="169277"/>
          </a:xfrm>
          <a:prstGeom prst="rect">
            <a:avLst/>
          </a:prstGeom>
          <a:noFill/>
        </p:spPr>
        <p:txBody>
          <a:bodyPr wrap="square" lIns="0" tIns="0" rIns="0" bIns="0" rtlCol="0">
            <a:spAutoFit/>
          </a:bodyPr>
          <a:lstStyle>
            <a:defPPr>
              <a:defRPr lang="en-US"/>
            </a:defPPr>
            <a:lvl1pPr algn="ctr">
              <a:defRPr sz="1600" b="1">
                <a:ln/>
                <a:solidFill>
                  <a:schemeClr val="bg1"/>
                </a:solidFill>
                <a:latin typeface="Neue Haas Grotesk Text Pro"/>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rgbClr val="00477B"/>
                </a:solidFill>
                <a:latin typeface="Neue Haas Grotesk Text Pro" panose="020B0504020202020204" pitchFamily="34" charset="0"/>
              </a:rPr>
              <a:t>HV POWERED SOLUTIONS</a:t>
            </a:r>
            <a:endParaRPr kumimoji="0" lang="en-US" sz="1100" b="1" i="0" u="none" strike="noStrike" kern="1200" cap="none" spc="0" normalizeH="0" baseline="0" noProof="0">
              <a:ln/>
              <a:solidFill>
                <a:srgbClr val="00477B"/>
              </a:solidFill>
              <a:effectLst/>
              <a:uLnTx/>
              <a:uFillTx/>
              <a:latin typeface="Neue Haas Grotesk Text Pro" panose="020B0504020202020204" pitchFamily="34" charset="0"/>
              <a:ea typeface="+mn-ea"/>
              <a:cs typeface="+mn-cs"/>
              <a:rtl val="0"/>
            </a:endParaRPr>
          </a:p>
        </p:txBody>
      </p:sp>
      <p:grpSp>
        <p:nvGrpSpPr>
          <p:cNvPr id="63" name="Group 62">
            <a:extLst>
              <a:ext uri="{FF2B5EF4-FFF2-40B4-BE49-F238E27FC236}">
                <a16:creationId xmlns:a16="http://schemas.microsoft.com/office/drawing/2014/main" id="{53160615-5A83-77BA-B43D-D1EDBDE55453}"/>
              </a:ext>
            </a:extLst>
          </p:cNvPr>
          <p:cNvGrpSpPr/>
          <p:nvPr/>
        </p:nvGrpSpPr>
        <p:grpSpPr>
          <a:xfrm>
            <a:off x="2510129" y="2276447"/>
            <a:ext cx="4032798" cy="1483931"/>
            <a:chOff x="2510129" y="2443248"/>
            <a:chExt cx="4032798" cy="1483931"/>
          </a:xfrm>
        </p:grpSpPr>
        <p:sp>
          <p:nvSpPr>
            <p:cNvPr id="64" name="Rounded Rectangle 162">
              <a:extLst>
                <a:ext uri="{FF2B5EF4-FFF2-40B4-BE49-F238E27FC236}">
                  <a16:creationId xmlns:a16="http://schemas.microsoft.com/office/drawing/2014/main" id="{A09F1BC5-E3EF-D99A-FF91-7DA3467B3386}"/>
                </a:ext>
              </a:extLst>
            </p:cNvPr>
            <p:cNvSpPr/>
            <p:nvPr/>
          </p:nvSpPr>
          <p:spPr>
            <a:xfrm>
              <a:off x="2510129" y="2443248"/>
              <a:ext cx="4032798" cy="1483931"/>
            </a:xfrm>
            <a:prstGeom prst="roundRect">
              <a:avLst>
                <a:gd name="adj" fmla="val 2320"/>
              </a:avLst>
            </a:prstGeom>
            <a:solidFill>
              <a:srgbClr val="3CACB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330584"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1F60"/>
                </a:solidFill>
                <a:effectLst/>
                <a:uLnTx/>
                <a:uFillTx/>
                <a:latin typeface="Neue Haas Grotesk Text Pro" panose="020B0504020202020204" pitchFamily="34" charset="0"/>
                <a:ea typeface="+mn-ea"/>
                <a:cs typeface="+mn-cs"/>
              </a:endParaRPr>
            </a:p>
          </p:txBody>
        </p:sp>
        <p:sp>
          <p:nvSpPr>
            <p:cNvPr id="65" name="Rounded Rectangle 1">
              <a:extLst>
                <a:ext uri="{FF2B5EF4-FFF2-40B4-BE49-F238E27FC236}">
                  <a16:creationId xmlns:a16="http://schemas.microsoft.com/office/drawing/2014/main" id="{A162D81F-B8EF-38C8-F0DF-B63B2908B6C6}"/>
                </a:ext>
              </a:extLst>
            </p:cNvPr>
            <p:cNvSpPr/>
            <p:nvPr/>
          </p:nvSpPr>
          <p:spPr>
            <a:xfrm>
              <a:off x="4624268" y="2932000"/>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414141"/>
                  </a:solidFill>
                  <a:latin typeface="Neue Haas Grotesk Text Pro" panose="020B0504020202020204" pitchFamily="34" charset="0"/>
                </a:rPr>
                <a:t>Data Protection</a:t>
              </a:r>
              <a:endPar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endParaRPr>
            </a:p>
          </p:txBody>
        </p:sp>
        <p:sp>
          <p:nvSpPr>
            <p:cNvPr id="66" name="Rounded Rectangle 8">
              <a:extLst>
                <a:ext uri="{FF2B5EF4-FFF2-40B4-BE49-F238E27FC236}">
                  <a16:creationId xmlns:a16="http://schemas.microsoft.com/office/drawing/2014/main" id="{18039D41-8CF2-1E36-0C5B-38A20B1A8C87}"/>
                </a:ext>
              </a:extLst>
            </p:cNvPr>
            <p:cNvSpPr/>
            <p:nvPr/>
          </p:nvSpPr>
          <p:spPr>
            <a:xfrm>
              <a:off x="2607285" y="2932000"/>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414141"/>
                  </a:solidFill>
                  <a:latin typeface="Neue Haas Grotesk Text Pro" panose="020B0504020202020204" pitchFamily="34" charset="0"/>
                </a:rPr>
                <a:t>Block Storage</a:t>
              </a:r>
              <a:endPar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endParaRPr>
            </a:p>
          </p:txBody>
        </p:sp>
        <p:sp>
          <p:nvSpPr>
            <p:cNvPr id="67" name="Rounded Rectangle 57">
              <a:extLst>
                <a:ext uri="{FF2B5EF4-FFF2-40B4-BE49-F238E27FC236}">
                  <a16:creationId xmlns:a16="http://schemas.microsoft.com/office/drawing/2014/main" id="{E3B59BD0-3950-6463-AABD-4E7DAE216ECD}"/>
                </a:ext>
              </a:extLst>
            </p:cNvPr>
            <p:cNvSpPr/>
            <p:nvPr/>
          </p:nvSpPr>
          <p:spPr>
            <a:xfrm>
              <a:off x="4624268" y="3617959"/>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rgbClr val="414141"/>
                  </a:solidFill>
                  <a:latin typeface="Neue Haas Grotesk Text Pro" panose="020B0504020202020204" pitchFamily="34" charset="0"/>
                </a:rPr>
                <a:t>File Storage</a:t>
              </a:r>
              <a:endPar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endParaRPr>
            </a:p>
          </p:txBody>
        </p:sp>
        <p:sp>
          <p:nvSpPr>
            <p:cNvPr id="68" name="Rounded Rectangle 58">
              <a:extLst>
                <a:ext uri="{FF2B5EF4-FFF2-40B4-BE49-F238E27FC236}">
                  <a16:creationId xmlns:a16="http://schemas.microsoft.com/office/drawing/2014/main" id="{6B2E7E67-071D-6C3B-0DE3-4CEFF2E325F1}"/>
                </a:ext>
              </a:extLst>
            </p:cNvPr>
            <p:cNvSpPr/>
            <p:nvPr/>
          </p:nvSpPr>
          <p:spPr>
            <a:xfrm>
              <a:off x="2607285" y="3617959"/>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14141"/>
                  </a:solidFill>
                  <a:effectLst/>
                  <a:uLnTx/>
                  <a:uFillTx/>
                  <a:latin typeface="Neue Haas Grotesk Text Pro" panose="020B0504020202020204" pitchFamily="34" charset="0"/>
                  <a:ea typeface="+mn-ea"/>
                  <a:cs typeface="+mn-cs"/>
                </a:rPr>
                <a:t>Object Storage</a:t>
              </a:r>
            </a:p>
          </p:txBody>
        </p:sp>
        <p:pic>
          <p:nvPicPr>
            <p:cNvPr id="69" name="Graphic 68">
              <a:extLst>
                <a:ext uri="{FF2B5EF4-FFF2-40B4-BE49-F238E27FC236}">
                  <a16:creationId xmlns:a16="http://schemas.microsoft.com/office/drawing/2014/main" id="{6A534459-961C-95B2-1330-B31DDA583EEA}"/>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362339" y="2500524"/>
              <a:ext cx="361950" cy="361950"/>
            </a:xfrm>
            <a:prstGeom prst="rect">
              <a:avLst/>
            </a:prstGeom>
          </p:spPr>
        </p:pic>
        <p:pic>
          <p:nvPicPr>
            <p:cNvPr id="70" name="Graphic 69">
              <a:extLst>
                <a:ext uri="{FF2B5EF4-FFF2-40B4-BE49-F238E27FC236}">
                  <a16:creationId xmlns:a16="http://schemas.microsoft.com/office/drawing/2014/main" id="{C128C924-39DF-1A34-602F-7CF1E3EEF291}"/>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355113" y="2520037"/>
              <a:ext cx="342437" cy="342437"/>
            </a:xfrm>
            <a:prstGeom prst="rect">
              <a:avLst/>
            </a:prstGeom>
          </p:spPr>
        </p:pic>
        <p:pic>
          <p:nvPicPr>
            <p:cNvPr id="71" name="Graphic 70">
              <a:extLst>
                <a:ext uri="{FF2B5EF4-FFF2-40B4-BE49-F238E27FC236}">
                  <a16:creationId xmlns:a16="http://schemas.microsoft.com/office/drawing/2014/main" id="{D80BF8F6-25D7-3319-BA64-1D94061F6EC1}"/>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365486" y="3187288"/>
              <a:ext cx="355656" cy="355656"/>
            </a:xfrm>
            <a:prstGeom prst="rect">
              <a:avLst/>
            </a:prstGeom>
          </p:spPr>
        </p:pic>
        <p:pic>
          <p:nvPicPr>
            <p:cNvPr id="72" name="Graphic 71">
              <a:extLst>
                <a:ext uri="{FF2B5EF4-FFF2-40B4-BE49-F238E27FC236}">
                  <a16:creationId xmlns:a16="http://schemas.microsoft.com/office/drawing/2014/main" id="{DECFDBCB-1371-AB94-4A1B-68242C607595}"/>
                </a:ext>
              </a:extLst>
            </p:cNvPr>
            <p:cNvPicPr>
              <a:picLocks noChangeAspect="1"/>
            </p:cNvPicPr>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3348503" y="3198159"/>
              <a:ext cx="355656" cy="355656"/>
            </a:xfrm>
            <a:prstGeom prst="rect">
              <a:avLst/>
            </a:prstGeom>
          </p:spPr>
        </p:pic>
      </p:grpSp>
      <p:grpSp>
        <p:nvGrpSpPr>
          <p:cNvPr id="73" name="Group 72">
            <a:extLst>
              <a:ext uri="{FF2B5EF4-FFF2-40B4-BE49-F238E27FC236}">
                <a16:creationId xmlns:a16="http://schemas.microsoft.com/office/drawing/2014/main" id="{A70781BC-118F-28E8-A821-D3A7CF09990A}"/>
              </a:ext>
            </a:extLst>
          </p:cNvPr>
          <p:cNvGrpSpPr/>
          <p:nvPr/>
        </p:nvGrpSpPr>
        <p:grpSpPr>
          <a:xfrm>
            <a:off x="2510743" y="4005157"/>
            <a:ext cx="4032798" cy="728252"/>
            <a:chOff x="2490809" y="5621527"/>
            <a:chExt cx="4032798" cy="728252"/>
          </a:xfrm>
        </p:grpSpPr>
        <p:sp>
          <p:nvSpPr>
            <p:cNvPr id="74" name="Rounded Rectangle 162">
              <a:extLst>
                <a:ext uri="{FF2B5EF4-FFF2-40B4-BE49-F238E27FC236}">
                  <a16:creationId xmlns:a16="http://schemas.microsoft.com/office/drawing/2014/main" id="{C17635CB-3CBB-FD90-4128-0BD8F157CF49}"/>
                </a:ext>
              </a:extLst>
            </p:cNvPr>
            <p:cNvSpPr/>
            <p:nvPr/>
          </p:nvSpPr>
          <p:spPr>
            <a:xfrm>
              <a:off x="2490809" y="5621527"/>
              <a:ext cx="4032798" cy="728252"/>
            </a:xfrm>
            <a:prstGeom prst="roundRect">
              <a:avLst>
                <a:gd name="adj" fmla="val 2320"/>
              </a:avLst>
            </a:prstGeom>
            <a:solidFill>
              <a:srgbClr val="41414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marL="0" marR="0" lvl="0" indent="0" algn="ctr" defTabSz="330584"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a:ln>
                  <a:noFill/>
                </a:ln>
                <a:solidFill>
                  <a:srgbClr val="001F60"/>
                </a:solidFill>
                <a:effectLst/>
                <a:uLnTx/>
                <a:uFillTx/>
                <a:latin typeface="Neue Haas Grotesk Text Pro" panose="020B0504020202020204" pitchFamily="34" charset="0"/>
                <a:ea typeface="+mn-ea"/>
                <a:cs typeface="+mn-cs"/>
              </a:endParaRPr>
            </a:p>
          </p:txBody>
        </p:sp>
        <p:sp>
          <p:nvSpPr>
            <p:cNvPr id="75" name="Rounded Rectangle 48">
              <a:extLst>
                <a:ext uri="{FF2B5EF4-FFF2-40B4-BE49-F238E27FC236}">
                  <a16:creationId xmlns:a16="http://schemas.microsoft.com/office/drawing/2014/main" id="{2E8A9533-63CC-A659-FA32-9E10E05CC762}"/>
                </a:ext>
              </a:extLst>
            </p:cNvPr>
            <p:cNvSpPr/>
            <p:nvPr/>
          </p:nvSpPr>
          <p:spPr>
            <a:xfrm>
              <a:off x="4611980" y="6031698"/>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100" b="1">
                  <a:solidFill>
                    <a:srgbClr val="414141"/>
                  </a:solidFill>
                  <a:latin typeface="Neue Haas Grotesk Text Pro" panose="020B0504020202020204" pitchFamily="34" charset="0"/>
                </a:rPr>
                <a:t>Generative AI</a:t>
              </a:r>
            </a:p>
          </p:txBody>
        </p:sp>
        <p:pic>
          <p:nvPicPr>
            <p:cNvPr id="76" name="Graphic 75">
              <a:extLst>
                <a:ext uri="{FF2B5EF4-FFF2-40B4-BE49-F238E27FC236}">
                  <a16:creationId xmlns:a16="http://schemas.microsoft.com/office/drawing/2014/main" id="{E9FA4F90-2365-AFE3-F59A-520B5A427CB3}"/>
                </a:ext>
              </a:extLst>
            </p:cNvPr>
            <p:cNvPicPr>
              <a:picLocks noChangeAspect="1"/>
            </p:cNvPicPr>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5382097" y="5682233"/>
              <a:ext cx="297858" cy="297858"/>
            </a:xfrm>
            <a:prstGeom prst="rect">
              <a:avLst/>
            </a:prstGeom>
          </p:spPr>
        </p:pic>
        <p:sp>
          <p:nvSpPr>
            <p:cNvPr id="77" name="Rounded Rectangle 44">
              <a:extLst>
                <a:ext uri="{FF2B5EF4-FFF2-40B4-BE49-F238E27FC236}">
                  <a16:creationId xmlns:a16="http://schemas.microsoft.com/office/drawing/2014/main" id="{2266D54B-2F39-7EF7-B581-A1FEE0819D81}"/>
                </a:ext>
              </a:extLst>
            </p:cNvPr>
            <p:cNvSpPr/>
            <p:nvPr/>
          </p:nvSpPr>
          <p:spPr>
            <a:xfrm>
              <a:off x="2650062" y="6031698"/>
              <a:ext cx="1838093" cy="205926"/>
            </a:xfrm>
            <a:prstGeom prst="roundRect">
              <a:avLst>
                <a:gd name="adj" fmla="val 12926"/>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100" b="1">
                  <a:solidFill>
                    <a:srgbClr val="414141"/>
                  </a:solidFill>
                  <a:latin typeface="Neue Haas Grotesk Text Pro" panose="020B0504020202020204" pitchFamily="34" charset="0"/>
                </a:rPr>
                <a:t>Data Models</a:t>
              </a:r>
            </a:p>
          </p:txBody>
        </p:sp>
        <p:pic>
          <p:nvPicPr>
            <p:cNvPr id="78" name="Graphic 77">
              <a:extLst>
                <a:ext uri="{FF2B5EF4-FFF2-40B4-BE49-F238E27FC236}">
                  <a16:creationId xmlns:a16="http://schemas.microsoft.com/office/drawing/2014/main" id="{D3DB6043-42DB-B0BB-CC0D-D059FEB0727A}"/>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365114" y="5682233"/>
              <a:ext cx="297858" cy="297858"/>
            </a:xfrm>
            <a:prstGeom prst="rect">
              <a:avLst/>
            </a:prstGeom>
          </p:spPr>
        </p:pic>
      </p:grpSp>
      <p:sp>
        <p:nvSpPr>
          <p:cNvPr id="79" name="TextBox 78">
            <a:extLst>
              <a:ext uri="{FF2B5EF4-FFF2-40B4-BE49-F238E27FC236}">
                <a16:creationId xmlns:a16="http://schemas.microsoft.com/office/drawing/2014/main" id="{1EE607A5-0702-5B3A-99E3-C92EFAD4880F}"/>
              </a:ext>
            </a:extLst>
          </p:cNvPr>
          <p:cNvSpPr txBox="1"/>
          <p:nvPr/>
        </p:nvSpPr>
        <p:spPr>
          <a:xfrm>
            <a:off x="3413207" y="3801247"/>
            <a:ext cx="2223239" cy="169277"/>
          </a:xfrm>
          <a:prstGeom prst="rect">
            <a:avLst/>
          </a:prstGeom>
          <a:noFill/>
        </p:spPr>
        <p:txBody>
          <a:bodyPr wrap="square" lIns="0" tIns="0" rIns="0" bIns="0" rtlCol="0">
            <a:spAutoFit/>
          </a:bodyPr>
          <a:lstStyle>
            <a:defPPr>
              <a:defRPr lang="en-US"/>
            </a:defPPr>
            <a:lvl1pPr algn="ctr">
              <a:defRPr sz="1600" b="1">
                <a:ln/>
                <a:solidFill>
                  <a:schemeClr val="bg1"/>
                </a:solidFill>
                <a:latin typeface="Neue Haas Grotesk Text Pro"/>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rgbClr val="00477B"/>
                </a:solidFill>
                <a:latin typeface="Neue Haas Grotesk Text Pro" panose="020B0504020202020204" pitchFamily="34" charset="0"/>
              </a:rPr>
              <a:t>FUTURE</a:t>
            </a:r>
            <a:r>
              <a:rPr kumimoji="0" lang="en-US" sz="1100" b="1" i="0" u="none" strike="noStrike" kern="1200" cap="none" spc="0" normalizeH="0" baseline="0" noProof="0">
                <a:ln/>
                <a:solidFill>
                  <a:srgbClr val="00477B"/>
                </a:solidFill>
                <a:effectLst/>
                <a:uLnTx/>
                <a:uFillTx/>
                <a:latin typeface="Neue Haas Grotesk Text Pro" panose="020B0504020202020204" pitchFamily="34" charset="0"/>
                <a:ea typeface="+mn-ea"/>
                <a:cs typeface="+mn-cs"/>
                <a:rtl val="0"/>
              </a:rPr>
              <a:t> SERVICE OPTIONS</a:t>
            </a:r>
          </a:p>
        </p:txBody>
      </p:sp>
    </p:spTree>
    <p:extLst>
      <p:ext uri="{BB962C8B-B14F-4D97-AF65-F5344CB8AC3E}">
        <p14:creationId xmlns:p14="http://schemas.microsoft.com/office/powerpoint/2010/main" val="4245051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dirty="0">
                <a:latin typeface="Neue Haas Grotesk Text Pro" panose="020B0504020202020204" pitchFamily="34" charset="0"/>
              </a:rPr>
              <a:t>The Most Resilient and Scalable Hybrid Cloud Infrastructure</a:t>
            </a:r>
            <a:br>
              <a:rPr lang="en-US" dirty="0">
                <a:latin typeface="Neue Haas Grotesk Text Pro" panose="020B0504020202020204" pitchFamily="34" charset="0"/>
              </a:rPr>
            </a:br>
            <a:r>
              <a:rPr lang="en-US" sz="2800" dirty="0">
                <a:solidFill>
                  <a:schemeClr val="accent3">
                    <a:lumMod val="75000"/>
                  </a:schemeClr>
                </a:solidFill>
                <a:latin typeface="Neue Haas Grotesk Text Pro" panose="020B0504020202020204" pitchFamily="34" charset="0"/>
              </a:rPr>
              <a:t>HC</a:t>
            </a:r>
            <a:r>
              <a:rPr lang="en-US" sz="2800" baseline="30000" dirty="0">
                <a:solidFill>
                  <a:schemeClr val="accent3">
                    <a:lumMod val="75000"/>
                  </a:schemeClr>
                </a:solidFill>
                <a:latin typeface="Neue Haas Grotesk Text Pro" panose="020B0504020202020204" pitchFamily="34" charset="0"/>
              </a:rPr>
              <a:t>2</a:t>
            </a:r>
            <a:endParaRPr lang="en-US" sz="2800" dirty="0">
              <a:solidFill>
                <a:schemeClr val="accent3">
                  <a:lumMod val="75000"/>
                </a:schemeClr>
              </a:solidFill>
              <a:latin typeface="Neue Haas Grotesk Text Pro" panose="020B0504020202020204" pitchFamily="34" charset="0"/>
            </a:endParaRPr>
          </a:p>
        </p:txBody>
      </p:sp>
      <p:pic>
        <p:nvPicPr>
          <p:cNvPr id="40" name="Picture 39">
            <a:extLst>
              <a:ext uri="{FF2B5EF4-FFF2-40B4-BE49-F238E27FC236}">
                <a16:creationId xmlns:a16="http://schemas.microsoft.com/office/drawing/2014/main" id="{D12062DB-3A61-03F4-B296-E6582A9000D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11605"/>
            <a:ext cx="2832100" cy="3454166"/>
          </a:xfrm>
          <a:custGeom>
            <a:avLst/>
            <a:gdLst>
              <a:gd name="connsiteX0" fmla="*/ 0 w 2832100"/>
              <a:gd name="connsiteY0" fmla="*/ 0 h 4004174"/>
              <a:gd name="connsiteX1" fmla="*/ 2832100 w 2832100"/>
              <a:gd name="connsiteY1" fmla="*/ 0 h 4004174"/>
              <a:gd name="connsiteX2" fmla="*/ 2832100 w 2832100"/>
              <a:gd name="connsiteY2" fmla="*/ 4004174 h 4004174"/>
              <a:gd name="connsiteX3" fmla="*/ 0 w 2832100"/>
              <a:gd name="connsiteY3" fmla="*/ 4004174 h 4004174"/>
            </a:gdLst>
            <a:ahLst/>
            <a:cxnLst>
              <a:cxn ang="0">
                <a:pos x="connsiteX0" y="connsiteY0"/>
              </a:cxn>
              <a:cxn ang="0">
                <a:pos x="connsiteX1" y="connsiteY1"/>
              </a:cxn>
              <a:cxn ang="0">
                <a:pos x="connsiteX2" y="connsiteY2"/>
              </a:cxn>
              <a:cxn ang="0">
                <a:pos x="connsiteX3" y="connsiteY3"/>
              </a:cxn>
            </a:cxnLst>
            <a:rect l="l" t="t" r="r" b="b"/>
            <a:pathLst>
              <a:path w="2832100" h="4004174">
                <a:moveTo>
                  <a:pt x="0" y="0"/>
                </a:moveTo>
                <a:lnTo>
                  <a:pt x="2832100" y="0"/>
                </a:lnTo>
                <a:lnTo>
                  <a:pt x="2832100" y="4004174"/>
                </a:lnTo>
                <a:lnTo>
                  <a:pt x="0" y="4004174"/>
                </a:lnTo>
                <a:close/>
              </a:path>
            </a:pathLst>
          </a:custGeom>
        </p:spPr>
      </p:pic>
      <p:sp>
        <p:nvSpPr>
          <p:cNvPr id="41" name="Rectangle 40">
            <a:extLst>
              <a:ext uri="{FF2B5EF4-FFF2-40B4-BE49-F238E27FC236}">
                <a16:creationId xmlns:a16="http://schemas.microsoft.com/office/drawing/2014/main" id="{381FA833-76C3-C02C-E08D-5290E44E121B}"/>
              </a:ext>
            </a:extLst>
          </p:cNvPr>
          <p:cNvSpPr/>
          <p:nvPr/>
        </p:nvSpPr>
        <p:spPr>
          <a:xfrm>
            <a:off x="0" y="1011605"/>
            <a:ext cx="2832100" cy="3454166"/>
          </a:xfrm>
          <a:prstGeom prst="rect">
            <a:avLst/>
          </a:prstGeom>
          <a:solidFill>
            <a:schemeClr val="tx1">
              <a:alpha val="84000"/>
            </a:schemeClr>
          </a:solidFill>
          <a:ln>
            <a:noFill/>
          </a:ln>
          <a:effectLst>
            <a:outerShdw blurRad="63500" algn="ctr" rotWithShape="0">
              <a:schemeClr val="accent2">
                <a:alpha val="20000"/>
              </a:schemeClr>
            </a:outerShdw>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42" name="Oval 41">
            <a:extLst>
              <a:ext uri="{FF2B5EF4-FFF2-40B4-BE49-F238E27FC236}">
                <a16:creationId xmlns:a16="http://schemas.microsoft.com/office/drawing/2014/main" id="{3064E508-BEA5-11E9-BB8C-544D6C94C4F5}"/>
              </a:ext>
            </a:extLst>
          </p:cNvPr>
          <p:cNvSpPr/>
          <p:nvPr/>
        </p:nvSpPr>
        <p:spPr>
          <a:xfrm>
            <a:off x="740426" y="1719974"/>
            <a:ext cx="1330717" cy="1347126"/>
          </a:xfrm>
          <a:prstGeom prst="ellipse">
            <a:avLst/>
          </a:prstGeom>
          <a:solidFill>
            <a:schemeClr val="accent2">
              <a:alpha val="54000"/>
            </a:schemeClr>
          </a:solidFill>
          <a:ln>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sym typeface="Arial"/>
            </a:endParaRPr>
          </a:p>
        </p:txBody>
      </p:sp>
      <p:sp>
        <p:nvSpPr>
          <p:cNvPr id="43" name="Oval 42">
            <a:extLst>
              <a:ext uri="{FF2B5EF4-FFF2-40B4-BE49-F238E27FC236}">
                <a16:creationId xmlns:a16="http://schemas.microsoft.com/office/drawing/2014/main" id="{0C012218-4510-F7E3-B7B2-BC43714AFF32}"/>
              </a:ext>
            </a:extLst>
          </p:cNvPr>
          <p:cNvSpPr/>
          <p:nvPr/>
        </p:nvSpPr>
        <p:spPr>
          <a:xfrm>
            <a:off x="1302191" y="2562675"/>
            <a:ext cx="1330717" cy="1347126"/>
          </a:xfrm>
          <a:prstGeom prst="ellipse">
            <a:avLst/>
          </a:prstGeom>
          <a:solidFill>
            <a:schemeClr val="accent3">
              <a:alpha val="54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sym typeface="Arial"/>
            </a:endParaRPr>
          </a:p>
        </p:txBody>
      </p:sp>
      <p:sp>
        <p:nvSpPr>
          <p:cNvPr id="44" name="Oval 43">
            <a:extLst>
              <a:ext uri="{FF2B5EF4-FFF2-40B4-BE49-F238E27FC236}">
                <a16:creationId xmlns:a16="http://schemas.microsoft.com/office/drawing/2014/main" id="{E09766BE-084C-E18E-3A38-DB44577CD4C0}"/>
              </a:ext>
            </a:extLst>
          </p:cNvPr>
          <p:cNvSpPr/>
          <p:nvPr/>
        </p:nvSpPr>
        <p:spPr>
          <a:xfrm>
            <a:off x="199192" y="2576816"/>
            <a:ext cx="1310185" cy="1332985"/>
          </a:xfrm>
          <a:prstGeom prst="ellipse">
            <a:avLst/>
          </a:prstGeom>
          <a:solidFill>
            <a:schemeClr val="accent5">
              <a:alpha val="54000"/>
            </a:schemeClr>
          </a:solidFill>
          <a:ln>
            <a:solidFill>
              <a:schemeClr val="accent5"/>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sym typeface="Arial"/>
            </a:endParaRPr>
          </a:p>
        </p:txBody>
      </p:sp>
      <p:grpSp>
        <p:nvGrpSpPr>
          <p:cNvPr id="45" name="Group 44">
            <a:extLst>
              <a:ext uri="{FF2B5EF4-FFF2-40B4-BE49-F238E27FC236}">
                <a16:creationId xmlns:a16="http://schemas.microsoft.com/office/drawing/2014/main" id="{83959E9E-E21D-BC82-6A3D-F02F6B3E89D3}"/>
              </a:ext>
            </a:extLst>
          </p:cNvPr>
          <p:cNvGrpSpPr/>
          <p:nvPr/>
        </p:nvGrpSpPr>
        <p:grpSpPr>
          <a:xfrm>
            <a:off x="416571" y="2842233"/>
            <a:ext cx="875427" cy="802150"/>
            <a:chOff x="416571" y="2751963"/>
            <a:chExt cx="875427" cy="802150"/>
          </a:xfrm>
        </p:grpSpPr>
        <p:sp>
          <p:nvSpPr>
            <p:cNvPr id="46" name="TextBox 45">
              <a:extLst>
                <a:ext uri="{FF2B5EF4-FFF2-40B4-BE49-F238E27FC236}">
                  <a16:creationId xmlns:a16="http://schemas.microsoft.com/office/drawing/2014/main" id="{9756B1B2-E9E7-BE15-7CC3-5F50AF908B90}"/>
                </a:ext>
              </a:extLst>
            </p:cNvPr>
            <p:cNvSpPr txBox="1"/>
            <p:nvPr/>
          </p:nvSpPr>
          <p:spPr>
            <a:xfrm>
              <a:off x="416571" y="3069365"/>
              <a:ext cx="875427" cy="484748"/>
            </a:xfrm>
            <a:prstGeom prst="rect">
              <a:avLst/>
            </a:prstGeom>
            <a:noFill/>
          </p:spPr>
          <p:txBody>
            <a:bodyPr wrap="square" lIns="0" tIns="0" rIns="0" bIns="0" rtlCol="0">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Segoe UI Light" panose="020B0502040204020203" pitchFamily="34" charset="0"/>
                  <a:sym typeface="Arial"/>
                </a:rPr>
                <a:t>Improved Operational Efficiency</a:t>
              </a:r>
            </a:p>
          </p:txBody>
        </p:sp>
        <p:pic>
          <p:nvPicPr>
            <p:cNvPr id="47" name="Graphic 46">
              <a:extLst>
                <a:ext uri="{FF2B5EF4-FFF2-40B4-BE49-F238E27FC236}">
                  <a16:creationId xmlns:a16="http://schemas.microsoft.com/office/drawing/2014/main" id="{864ED2BD-5CC7-0833-3E90-987690B107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4061" y="2751963"/>
              <a:ext cx="260446" cy="260446"/>
            </a:xfrm>
            <a:prstGeom prst="rect">
              <a:avLst/>
            </a:prstGeom>
          </p:spPr>
        </p:pic>
      </p:grpSp>
      <p:sp>
        <p:nvSpPr>
          <p:cNvPr id="48" name="TextBox 47">
            <a:extLst>
              <a:ext uri="{FF2B5EF4-FFF2-40B4-BE49-F238E27FC236}">
                <a16:creationId xmlns:a16="http://schemas.microsoft.com/office/drawing/2014/main" id="{7A4FBB0E-1644-BA63-83A9-A795F8D0F391}"/>
              </a:ext>
            </a:extLst>
          </p:cNvPr>
          <p:cNvSpPr txBox="1"/>
          <p:nvPr/>
        </p:nvSpPr>
        <p:spPr>
          <a:xfrm>
            <a:off x="957431" y="2200312"/>
            <a:ext cx="896707" cy="323165"/>
          </a:xfrm>
          <a:prstGeom prst="rect">
            <a:avLst/>
          </a:prstGeom>
          <a:noFill/>
        </p:spPr>
        <p:txBody>
          <a:bodyPr wrap="square" lIns="0" tIns="0" rIns="0" bIns="0" rtlCol="0">
            <a:spAutoFit/>
          </a:bodyPr>
          <a:lstStyle/>
          <a:p>
            <a:pPr marL="0" marR="0" lvl="0" indent="0" algn="ctr" defTabSz="914273"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Segoe UI Light" panose="020B0502040204020203" pitchFamily="34" charset="0"/>
                <a:sym typeface="Arial"/>
              </a:rPr>
              <a:t>True Consumption</a:t>
            </a:r>
          </a:p>
        </p:txBody>
      </p:sp>
      <p:pic>
        <p:nvPicPr>
          <p:cNvPr id="49" name="Graphic 48">
            <a:extLst>
              <a:ext uri="{FF2B5EF4-FFF2-40B4-BE49-F238E27FC236}">
                <a16:creationId xmlns:a16="http://schemas.microsoft.com/office/drawing/2014/main" id="{A5E59944-AE08-EDD7-D537-2D45D1BD0B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5561" y="1909262"/>
            <a:ext cx="260446" cy="260446"/>
          </a:xfrm>
          <a:prstGeom prst="rect">
            <a:avLst/>
          </a:prstGeom>
        </p:spPr>
      </p:pic>
      <p:grpSp>
        <p:nvGrpSpPr>
          <p:cNvPr id="50" name="Group 49">
            <a:extLst>
              <a:ext uri="{FF2B5EF4-FFF2-40B4-BE49-F238E27FC236}">
                <a16:creationId xmlns:a16="http://schemas.microsoft.com/office/drawing/2014/main" id="{ED8A645E-F9AA-9AAF-C749-8DCE3518BAF0}"/>
              </a:ext>
            </a:extLst>
          </p:cNvPr>
          <p:cNvGrpSpPr/>
          <p:nvPr/>
        </p:nvGrpSpPr>
        <p:grpSpPr>
          <a:xfrm>
            <a:off x="1518697" y="2842234"/>
            <a:ext cx="897705" cy="788009"/>
            <a:chOff x="1518697" y="2751963"/>
            <a:chExt cx="897705" cy="788009"/>
          </a:xfrm>
        </p:grpSpPr>
        <p:sp>
          <p:nvSpPr>
            <p:cNvPr id="57" name="Rectangle 56">
              <a:extLst>
                <a:ext uri="{FF2B5EF4-FFF2-40B4-BE49-F238E27FC236}">
                  <a16:creationId xmlns:a16="http://schemas.microsoft.com/office/drawing/2014/main" id="{CFB3BA32-45F9-F88D-A5FB-6238C05895DD}"/>
                </a:ext>
              </a:extLst>
            </p:cNvPr>
            <p:cNvSpPr/>
            <p:nvPr/>
          </p:nvSpPr>
          <p:spPr>
            <a:xfrm>
              <a:off x="1518697" y="3055224"/>
              <a:ext cx="897705" cy="484748"/>
            </a:xfrm>
            <a:prstGeom prst="rect">
              <a:avLst/>
            </a:prstGeom>
          </p:spPr>
          <p:txBody>
            <a:bodyPr wrap="square" lIns="0" tIns="0" rIns="0" bIns="0">
              <a:spAutoFit/>
            </a:bodyPr>
            <a:lstStyle/>
            <a:p>
              <a:pPr marL="0" marR="0" lvl="0" indent="0" algn="ctr" defTabSz="914378" rtl="0" eaLnBrk="1" fontAlgn="auto" latinLnBrk="0" hangingPunct="1">
                <a:lnSpc>
                  <a:spcPct val="100000"/>
                </a:lnSpc>
                <a:spcBef>
                  <a:spcPts val="0"/>
                </a:spcBef>
                <a:spcAft>
                  <a:spcPts val="400"/>
                </a:spcAft>
                <a:buClr>
                  <a:srgbClr val="000000"/>
                </a:buClr>
                <a:buSzTx/>
                <a:buFontTx/>
                <a:buNone/>
                <a:tabLst/>
                <a:defRPr/>
              </a:pPr>
              <a:r>
                <a:rPr kumimoji="0" lang="en-GB" sz="105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sym typeface="Arial"/>
                </a:rPr>
                <a:t>Significant TCO reduction </a:t>
              </a:r>
            </a:p>
          </p:txBody>
        </p:sp>
        <p:pic>
          <p:nvPicPr>
            <p:cNvPr id="58" name="Graphic 57">
              <a:extLst>
                <a:ext uri="{FF2B5EF4-FFF2-40B4-BE49-F238E27FC236}">
                  <a16:creationId xmlns:a16="http://schemas.microsoft.com/office/drawing/2014/main" id="{BC342058-197D-4E11-84AC-F1CB4182B4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7326" y="2751963"/>
              <a:ext cx="260446" cy="260446"/>
            </a:xfrm>
            <a:prstGeom prst="rect">
              <a:avLst/>
            </a:prstGeom>
          </p:spPr>
        </p:pic>
      </p:grpSp>
      <p:sp>
        <p:nvSpPr>
          <p:cNvPr id="59" name="Rectangle: Top Corners Rounded 58">
            <a:extLst>
              <a:ext uri="{FF2B5EF4-FFF2-40B4-BE49-F238E27FC236}">
                <a16:creationId xmlns:a16="http://schemas.microsoft.com/office/drawing/2014/main" id="{0FC78865-737D-03E2-86D5-7308BB9CE842}"/>
              </a:ext>
            </a:extLst>
          </p:cNvPr>
          <p:cNvSpPr/>
          <p:nvPr/>
        </p:nvSpPr>
        <p:spPr>
          <a:xfrm>
            <a:off x="2910546" y="1011605"/>
            <a:ext cx="5992301" cy="193596"/>
          </a:xfrm>
          <a:prstGeom prst="round2Same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a:ln>
                  <a:noFill/>
                </a:ln>
                <a:solidFill>
                  <a:srgbClr val="CC0000"/>
                </a:solidFill>
                <a:effectLst/>
                <a:uLnTx/>
                <a:uFillTx/>
                <a:latin typeface="Neue Haas Grotesk Text Pro" panose="020B0504020202020204" pitchFamily="34" charset="0"/>
                <a:ea typeface="+mn-ea"/>
                <a:cs typeface="+mn-cs"/>
              </a:rPr>
              <a:t>MORE WORKLOADS, LESS INFRASTRUCTURE, BETTER TCO! </a:t>
            </a:r>
          </a:p>
        </p:txBody>
      </p:sp>
      <p:sp>
        <p:nvSpPr>
          <p:cNvPr id="60" name="object 11">
            <a:extLst>
              <a:ext uri="{FF2B5EF4-FFF2-40B4-BE49-F238E27FC236}">
                <a16:creationId xmlns:a16="http://schemas.microsoft.com/office/drawing/2014/main" id="{593B1173-93FC-799F-4602-54CEA55B51F2}"/>
              </a:ext>
            </a:extLst>
          </p:cNvPr>
          <p:cNvSpPr/>
          <p:nvPr/>
        </p:nvSpPr>
        <p:spPr>
          <a:xfrm>
            <a:off x="2910547" y="1297199"/>
            <a:ext cx="1895239" cy="137160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61" name="object 13">
            <a:extLst>
              <a:ext uri="{FF2B5EF4-FFF2-40B4-BE49-F238E27FC236}">
                <a16:creationId xmlns:a16="http://schemas.microsoft.com/office/drawing/2014/main" id="{8536C5DD-1829-275E-B261-49872C6C2BAF}"/>
              </a:ext>
            </a:extLst>
          </p:cNvPr>
          <p:cNvSpPr/>
          <p:nvPr/>
        </p:nvSpPr>
        <p:spPr>
          <a:xfrm>
            <a:off x="4959132" y="1297199"/>
            <a:ext cx="1895239" cy="137160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62" name="object 15">
            <a:extLst>
              <a:ext uri="{FF2B5EF4-FFF2-40B4-BE49-F238E27FC236}">
                <a16:creationId xmlns:a16="http://schemas.microsoft.com/office/drawing/2014/main" id="{E67463E5-A207-5D8E-67BC-58A999CF5733}"/>
              </a:ext>
            </a:extLst>
          </p:cNvPr>
          <p:cNvSpPr/>
          <p:nvPr/>
        </p:nvSpPr>
        <p:spPr>
          <a:xfrm>
            <a:off x="7007716" y="1297199"/>
            <a:ext cx="1895239" cy="137160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63" name="Shape2_20240717_112730">
            <a:extLst>
              <a:ext uri="{FF2B5EF4-FFF2-40B4-BE49-F238E27FC236}">
                <a16:creationId xmlns:a16="http://schemas.microsoft.com/office/drawing/2014/main" id="{7D460AC8-A01B-A3EC-5891-CFAB7EA15669}"/>
              </a:ext>
            </a:extLst>
          </p:cNvPr>
          <p:cNvSpPr txBox="1">
            <a:spLocks/>
          </p:cNvSpPr>
          <p:nvPr/>
        </p:nvSpPr>
        <p:spPr>
          <a:xfrm>
            <a:off x="7139104" y="1890829"/>
            <a:ext cx="1632464" cy="559356"/>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utomated infrastructure operations </a:t>
            </a:r>
          </a:p>
        </p:txBody>
      </p:sp>
      <p:sp>
        <p:nvSpPr>
          <p:cNvPr id="64" name="Shape3_20240717_112730">
            <a:extLst>
              <a:ext uri="{FF2B5EF4-FFF2-40B4-BE49-F238E27FC236}">
                <a16:creationId xmlns:a16="http://schemas.microsoft.com/office/drawing/2014/main" id="{382083B8-04BD-EAEE-10D3-9DDF106E2F14}"/>
              </a:ext>
            </a:extLst>
          </p:cNvPr>
          <p:cNvSpPr txBox="1">
            <a:spLocks/>
          </p:cNvSpPr>
          <p:nvPr/>
        </p:nvSpPr>
        <p:spPr>
          <a:xfrm>
            <a:off x="5086306" y="1890829"/>
            <a:ext cx="1632464" cy="559356"/>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Increase Agility, Velocity, Observability, &amp; Portability</a:t>
            </a:r>
          </a:p>
        </p:txBody>
      </p:sp>
      <p:sp>
        <p:nvSpPr>
          <p:cNvPr id="65" name="Shape4_20240717_112730">
            <a:extLst>
              <a:ext uri="{FF2B5EF4-FFF2-40B4-BE49-F238E27FC236}">
                <a16:creationId xmlns:a16="http://schemas.microsoft.com/office/drawing/2014/main" id="{FBD16D9F-6DD0-BC57-1DC6-1462FEF985AC}"/>
              </a:ext>
            </a:extLst>
          </p:cNvPr>
          <p:cNvSpPr txBox="1">
            <a:spLocks/>
          </p:cNvSpPr>
          <p:nvPr/>
        </p:nvSpPr>
        <p:spPr>
          <a:xfrm>
            <a:off x="3041934" y="1890829"/>
            <a:ext cx="1632464" cy="590072"/>
          </a:xfrm>
          <a:prstGeom prst="roundRect">
            <a:avLst>
              <a:gd name="adj" fmla="val 2474"/>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182880" marR="0" lvl="0" indent="-182880" fontAlgn="auto">
              <a:lnSpc>
                <a:spcPct val="100000"/>
              </a:lnSpc>
              <a:spcBef>
                <a:spcPts val="0"/>
              </a:spcBef>
              <a:spcAft>
                <a:spcPts val="200"/>
              </a:spcAft>
              <a:buClr>
                <a:schemeClr val="tx1"/>
              </a:buClr>
              <a:buSzTx/>
              <a:buFont typeface="Symbol" panose="05050102010706020507" pitchFamily="18" charset="2"/>
              <a:buChar char="·"/>
              <a:tabLst/>
              <a:defRPr kumimoji="0" sz="900" b="1" i="0" u="none" strike="noStrike" cap="none" spc="0" normalizeH="0" baseline="0">
                <a:ln>
                  <a:noFill/>
                </a:ln>
                <a:solidFill>
                  <a:srgbClr val="0D003F"/>
                </a:solidFill>
                <a:effectLst/>
                <a:uLnTx/>
                <a:uFillTx/>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Unified platform</a:t>
            </a:r>
          </a:p>
          <a:p>
            <a:pPr marL="0" marR="0" lvl="0" indent="0" algn="ctr" defTabSz="914400" rtl="0" eaLnBrk="1" fontAlgn="auto" latinLnBrk="0" hangingPunct="1">
              <a:lnSpc>
                <a:spcPct val="100000"/>
              </a:lnSpc>
              <a:spcBef>
                <a:spcPts val="0"/>
              </a:spcBef>
              <a:spcAft>
                <a:spcPts val="200"/>
              </a:spcAft>
              <a:buClr>
                <a:srgbClr val="222222"/>
              </a:buClr>
              <a:buSzTx/>
              <a:buFont typeface="Symbol" panose="05050102010706020507" pitchFamily="18" charset="2"/>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 for applications </a:t>
            </a:r>
            <a:b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nd data</a:t>
            </a:r>
          </a:p>
        </p:txBody>
      </p:sp>
      <p:sp>
        <p:nvSpPr>
          <p:cNvPr id="66" name="Rectangle 65">
            <a:extLst>
              <a:ext uri="{FF2B5EF4-FFF2-40B4-BE49-F238E27FC236}">
                <a16:creationId xmlns:a16="http://schemas.microsoft.com/office/drawing/2014/main" id="{3B1B8B5D-0EB8-9D51-35A4-F68E4B09FDA0}"/>
              </a:ext>
            </a:extLst>
          </p:cNvPr>
          <p:cNvSpPr/>
          <p:nvPr/>
        </p:nvSpPr>
        <p:spPr>
          <a:xfrm>
            <a:off x="2910547" y="1297199"/>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67" name="Rectangle 66">
            <a:extLst>
              <a:ext uri="{FF2B5EF4-FFF2-40B4-BE49-F238E27FC236}">
                <a16:creationId xmlns:a16="http://schemas.microsoft.com/office/drawing/2014/main" id="{B668F7F7-B9CE-F0F7-F379-7B29C93A7367}"/>
              </a:ext>
            </a:extLst>
          </p:cNvPr>
          <p:cNvSpPr/>
          <p:nvPr/>
        </p:nvSpPr>
        <p:spPr>
          <a:xfrm>
            <a:off x="4959132" y="1297199"/>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68" name="Flowchart: Delay 67">
            <a:extLst>
              <a:ext uri="{FF2B5EF4-FFF2-40B4-BE49-F238E27FC236}">
                <a16:creationId xmlns:a16="http://schemas.microsoft.com/office/drawing/2014/main" id="{6C9374DA-FCE3-1641-9CED-34AE6B7660B3}"/>
              </a:ext>
            </a:extLst>
          </p:cNvPr>
          <p:cNvSpPr/>
          <p:nvPr/>
        </p:nvSpPr>
        <p:spPr>
          <a:xfrm rot="5400000">
            <a:off x="3605006" y="1297199"/>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69" name="Flowchart: Delay 68">
            <a:extLst>
              <a:ext uri="{FF2B5EF4-FFF2-40B4-BE49-F238E27FC236}">
                <a16:creationId xmlns:a16="http://schemas.microsoft.com/office/drawing/2014/main" id="{5EA73C37-D370-83E7-1E55-0F60301FEE86}"/>
              </a:ext>
            </a:extLst>
          </p:cNvPr>
          <p:cNvSpPr/>
          <p:nvPr/>
        </p:nvSpPr>
        <p:spPr>
          <a:xfrm rot="5400000">
            <a:off x="5653591" y="1297199"/>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pic>
        <p:nvPicPr>
          <p:cNvPr id="70" name="Graphic 69">
            <a:extLst>
              <a:ext uri="{FF2B5EF4-FFF2-40B4-BE49-F238E27FC236}">
                <a16:creationId xmlns:a16="http://schemas.microsoft.com/office/drawing/2014/main" id="{63BE42AC-5C2B-C599-B2FD-CC36AC1BCE7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18088" y="1402661"/>
            <a:ext cx="280157" cy="280157"/>
          </a:xfrm>
          <a:prstGeom prst="rect">
            <a:avLst/>
          </a:prstGeom>
        </p:spPr>
      </p:pic>
      <p:grpSp>
        <p:nvGrpSpPr>
          <p:cNvPr id="71" name="Group 70">
            <a:extLst>
              <a:ext uri="{FF2B5EF4-FFF2-40B4-BE49-F238E27FC236}">
                <a16:creationId xmlns:a16="http://schemas.microsoft.com/office/drawing/2014/main" id="{20BCD12C-1438-21AB-B1D7-67F9EE0CDA6F}"/>
              </a:ext>
            </a:extLst>
          </p:cNvPr>
          <p:cNvGrpSpPr/>
          <p:nvPr/>
        </p:nvGrpSpPr>
        <p:grpSpPr>
          <a:xfrm>
            <a:off x="7007716" y="1297199"/>
            <a:ext cx="1895239" cy="506321"/>
            <a:chOff x="7007716" y="1325774"/>
            <a:chExt cx="1895239" cy="506321"/>
          </a:xfrm>
        </p:grpSpPr>
        <p:sp>
          <p:nvSpPr>
            <p:cNvPr id="72" name="Rectangle 71">
              <a:extLst>
                <a:ext uri="{FF2B5EF4-FFF2-40B4-BE49-F238E27FC236}">
                  <a16:creationId xmlns:a16="http://schemas.microsoft.com/office/drawing/2014/main" id="{96790ED9-A077-7B8C-A14A-F34C18683696}"/>
                </a:ext>
              </a:extLst>
            </p:cNvPr>
            <p:cNvSpPr/>
            <p:nvPr/>
          </p:nvSpPr>
          <p:spPr>
            <a:xfrm>
              <a:off x="7007716" y="1325774"/>
              <a:ext cx="1895239" cy="6400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73" name="Flowchart: Delay 72">
              <a:extLst>
                <a:ext uri="{FF2B5EF4-FFF2-40B4-BE49-F238E27FC236}">
                  <a16:creationId xmlns:a16="http://schemas.microsoft.com/office/drawing/2014/main" id="{95CFD24A-83A4-C8E2-0D27-3286305F923C}"/>
                </a:ext>
              </a:extLst>
            </p:cNvPr>
            <p:cNvSpPr/>
            <p:nvPr/>
          </p:nvSpPr>
          <p:spPr>
            <a:xfrm rot="5400000">
              <a:off x="7702175" y="1325774"/>
              <a:ext cx="506321" cy="506321"/>
            </a:xfrm>
            <a:prstGeom prst="flowChartDelay">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
                  <a:srgbClr val="000000"/>
                </a:buClr>
                <a:buSzTx/>
                <a:buFontTx/>
                <a:buNone/>
                <a:tabLst/>
                <a:defRPr/>
              </a:pPr>
              <a:endParaRPr kumimoji="0" lang="en-US" sz="800" b="0" i="0" u="none" strike="noStrike" kern="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pic>
          <p:nvPicPr>
            <p:cNvPr id="74" name="Graphic 73">
              <a:extLst>
                <a:ext uri="{FF2B5EF4-FFF2-40B4-BE49-F238E27FC236}">
                  <a16:creationId xmlns:a16="http://schemas.microsoft.com/office/drawing/2014/main" id="{8FCD9E00-9566-59BA-18FC-3554CEDE429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15258" y="1431236"/>
              <a:ext cx="280157" cy="280157"/>
            </a:xfrm>
            <a:prstGeom prst="rect">
              <a:avLst/>
            </a:prstGeom>
          </p:spPr>
        </p:pic>
      </p:grpSp>
      <p:pic>
        <p:nvPicPr>
          <p:cNvPr id="75" name="Graphic 74">
            <a:extLst>
              <a:ext uri="{FF2B5EF4-FFF2-40B4-BE49-F238E27FC236}">
                <a16:creationId xmlns:a16="http://schemas.microsoft.com/office/drawing/2014/main" id="{C509F6E0-F595-BD41-5447-0F7B82ADF14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66673" y="1402661"/>
            <a:ext cx="280157" cy="280157"/>
          </a:xfrm>
          <a:prstGeom prst="rect">
            <a:avLst/>
          </a:prstGeom>
        </p:spPr>
      </p:pic>
      <p:sp>
        <p:nvSpPr>
          <p:cNvPr id="76" name="Rectangle: Top Corners Rounded 75">
            <a:extLst>
              <a:ext uri="{FF2B5EF4-FFF2-40B4-BE49-F238E27FC236}">
                <a16:creationId xmlns:a16="http://schemas.microsoft.com/office/drawing/2014/main" id="{26D51056-4A50-CEDE-C96D-D115CA3C2702}"/>
              </a:ext>
            </a:extLst>
          </p:cNvPr>
          <p:cNvSpPr/>
          <p:nvPr/>
        </p:nvSpPr>
        <p:spPr>
          <a:xfrm>
            <a:off x="2910546" y="2827014"/>
            <a:ext cx="5992301" cy="193596"/>
          </a:xfrm>
          <a:prstGeom prst="round2Same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a:ln>
                  <a:noFill/>
                </a:ln>
                <a:solidFill>
                  <a:srgbClr val="4571B6"/>
                </a:solidFill>
                <a:effectLst/>
                <a:uLnTx/>
                <a:uFillTx/>
                <a:latin typeface="Neue Haas Grotesk Text Pro" panose="020B0504020202020204" pitchFamily="34" charset="0"/>
                <a:ea typeface="+mn-ea"/>
                <a:cs typeface="+mn-cs"/>
              </a:rPr>
              <a:t>MAXIMIZE IT AGILITY WITH FLEXIBLE CONSUMPTION MODELS</a:t>
            </a:r>
          </a:p>
        </p:txBody>
      </p:sp>
      <p:sp>
        <p:nvSpPr>
          <p:cNvPr id="77" name="object 11">
            <a:extLst>
              <a:ext uri="{FF2B5EF4-FFF2-40B4-BE49-F238E27FC236}">
                <a16:creationId xmlns:a16="http://schemas.microsoft.com/office/drawing/2014/main" id="{0FC366D3-7733-8C83-D675-3DE56FCF00B7}"/>
              </a:ext>
            </a:extLst>
          </p:cNvPr>
          <p:cNvSpPr/>
          <p:nvPr/>
        </p:nvSpPr>
        <p:spPr>
          <a:xfrm>
            <a:off x="2910546" y="3094171"/>
            <a:ext cx="1453803" cy="1371600"/>
          </a:xfrm>
          <a:prstGeom prst="round2SameRect">
            <a:avLst>
              <a:gd name="adj1" fmla="val 4645"/>
              <a:gd name="adj2" fmla="val 0"/>
            </a:avLst>
          </a:prstGeom>
          <a:solidFill>
            <a:srgbClr val="F1F1F1"/>
          </a:solidFill>
          <a:effectLst>
            <a:outerShdw blurRad="63500" sx="101000" sy="101000" algn="ctr" rotWithShape="0">
              <a:srgbClr val="345588">
                <a:alpha val="20000"/>
              </a:srgb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78" name="object 11">
            <a:extLst>
              <a:ext uri="{FF2B5EF4-FFF2-40B4-BE49-F238E27FC236}">
                <a16:creationId xmlns:a16="http://schemas.microsoft.com/office/drawing/2014/main" id="{8C093A15-7EC7-D7BE-6B77-2FD2B1495656}"/>
              </a:ext>
            </a:extLst>
          </p:cNvPr>
          <p:cNvSpPr/>
          <p:nvPr/>
        </p:nvSpPr>
        <p:spPr>
          <a:xfrm>
            <a:off x="4423378" y="3094171"/>
            <a:ext cx="1453803" cy="1371600"/>
          </a:xfrm>
          <a:prstGeom prst="round2SameRect">
            <a:avLst>
              <a:gd name="adj1" fmla="val 4645"/>
              <a:gd name="adj2" fmla="val 0"/>
            </a:avLst>
          </a:prstGeom>
          <a:solidFill>
            <a:srgbClr val="F1F1F1"/>
          </a:solidFill>
          <a:effectLst>
            <a:outerShdw blurRad="63500" sx="101000" sy="101000" algn="ctr" rotWithShape="0">
              <a:srgbClr val="345588">
                <a:alpha val="20000"/>
              </a:srgb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79" name="object 11">
            <a:extLst>
              <a:ext uri="{FF2B5EF4-FFF2-40B4-BE49-F238E27FC236}">
                <a16:creationId xmlns:a16="http://schemas.microsoft.com/office/drawing/2014/main" id="{F14BE527-138A-8091-C8C8-91BA5FCC1C96}"/>
              </a:ext>
            </a:extLst>
          </p:cNvPr>
          <p:cNvSpPr/>
          <p:nvPr/>
        </p:nvSpPr>
        <p:spPr>
          <a:xfrm>
            <a:off x="5936212" y="3094171"/>
            <a:ext cx="1453803" cy="1371600"/>
          </a:xfrm>
          <a:prstGeom prst="round2SameRect">
            <a:avLst>
              <a:gd name="adj1" fmla="val 4645"/>
              <a:gd name="adj2" fmla="val 0"/>
            </a:avLst>
          </a:prstGeom>
          <a:solidFill>
            <a:srgbClr val="F1F1F1"/>
          </a:solidFill>
          <a:effectLst>
            <a:outerShdw blurRad="63500" sx="101000" sy="101000" algn="ctr" rotWithShape="0">
              <a:srgbClr val="345588">
                <a:alpha val="20000"/>
              </a:srgb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80" name="object 11">
            <a:extLst>
              <a:ext uri="{FF2B5EF4-FFF2-40B4-BE49-F238E27FC236}">
                <a16:creationId xmlns:a16="http://schemas.microsoft.com/office/drawing/2014/main" id="{FA5005C9-09C8-C64E-0CC5-FD6DF7068206}"/>
              </a:ext>
            </a:extLst>
          </p:cNvPr>
          <p:cNvSpPr/>
          <p:nvPr/>
        </p:nvSpPr>
        <p:spPr>
          <a:xfrm>
            <a:off x="7449044" y="3094171"/>
            <a:ext cx="1453803" cy="1371600"/>
          </a:xfrm>
          <a:prstGeom prst="round2SameRect">
            <a:avLst>
              <a:gd name="adj1" fmla="val 4645"/>
              <a:gd name="adj2" fmla="val 0"/>
            </a:avLst>
          </a:prstGeom>
          <a:solidFill>
            <a:srgbClr val="F1F1F1"/>
          </a:solidFill>
          <a:effectLst>
            <a:outerShdw blurRad="63500" sx="101000" sy="101000" algn="ctr" rotWithShape="0">
              <a:srgbClr val="345588">
                <a:alpha val="20000"/>
              </a:srgb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sp>
        <p:nvSpPr>
          <p:cNvPr id="81" name="Rectangle 80">
            <a:extLst>
              <a:ext uri="{FF2B5EF4-FFF2-40B4-BE49-F238E27FC236}">
                <a16:creationId xmlns:a16="http://schemas.microsoft.com/office/drawing/2014/main" id="{47EF7813-3A18-99B3-C4C3-61ADDFF777B8}"/>
              </a:ext>
            </a:extLst>
          </p:cNvPr>
          <p:cNvSpPr/>
          <p:nvPr/>
        </p:nvSpPr>
        <p:spPr>
          <a:xfrm>
            <a:off x="4545121" y="3742281"/>
            <a:ext cx="121031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Infrastruct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as-a-service</a:t>
            </a:r>
          </a:p>
        </p:txBody>
      </p:sp>
      <p:sp>
        <p:nvSpPr>
          <p:cNvPr id="82" name="Rectangle 81">
            <a:extLst>
              <a:ext uri="{FF2B5EF4-FFF2-40B4-BE49-F238E27FC236}">
                <a16:creationId xmlns:a16="http://schemas.microsoft.com/office/drawing/2014/main" id="{5FAA3640-75FB-7626-F6F2-0A8F1635FBAB}"/>
              </a:ext>
            </a:extLst>
          </p:cNvPr>
          <p:cNvSpPr/>
          <p:nvPr/>
        </p:nvSpPr>
        <p:spPr>
          <a:xfrm>
            <a:off x="6057955" y="3742281"/>
            <a:ext cx="121031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Become a Cloud Broker</a:t>
            </a:r>
          </a:p>
        </p:txBody>
      </p:sp>
      <p:sp>
        <p:nvSpPr>
          <p:cNvPr id="83" name="Rectangle 82">
            <a:extLst>
              <a:ext uri="{FF2B5EF4-FFF2-40B4-BE49-F238E27FC236}">
                <a16:creationId xmlns:a16="http://schemas.microsoft.com/office/drawing/2014/main" id="{AFF3FDE9-7ECB-5AB2-82A9-C0722634283D}"/>
              </a:ext>
            </a:extLst>
          </p:cNvPr>
          <p:cNvSpPr/>
          <p:nvPr/>
        </p:nvSpPr>
        <p:spPr>
          <a:xfrm>
            <a:off x="7570787" y="3742281"/>
            <a:ext cx="1210317"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SLA-backed </a:t>
            </a:r>
            <a:b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b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assurance</a:t>
            </a:r>
          </a:p>
        </p:txBody>
      </p:sp>
      <p:sp>
        <p:nvSpPr>
          <p:cNvPr id="84" name="Rectangle 83">
            <a:extLst>
              <a:ext uri="{FF2B5EF4-FFF2-40B4-BE49-F238E27FC236}">
                <a16:creationId xmlns:a16="http://schemas.microsoft.com/office/drawing/2014/main" id="{BE53F312-5987-EDE0-68EA-903C4167666A}"/>
              </a:ext>
            </a:extLst>
          </p:cNvPr>
          <p:cNvSpPr/>
          <p:nvPr/>
        </p:nvSpPr>
        <p:spPr>
          <a:xfrm>
            <a:off x="3032289" y="3742281"/>
            <a:ext cx="1210317"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Times New Roman" panose="02020603050405020304" pitchFamily="18" charset="0"/>
              </a:rPr>
              <a:t>Cloud attributes within the data center</a:t>
            </a:r>
          </a:p>
        </p:txBody>
      </p:sp>
      <p:sp>
        <p:nvSpPr>
          <p:cNvPr id="85" name="Rectangle 84">
            <a:extLst>
              <a:ext uri="{FF2B5EF4-FFF2-40B4-BE49-F238E27FC236}">
                <a16:creationId xmlns:a16="http://schemas.microsoft.com/office/drawing/2014/main" id="{EBF565D9-98BA-8E93-FAA3-895956B706B2}"/>
              </a:ext>
            </a:extLst>
          </p:cNvPr>
          <p:cNvSpPr/>
          <p:nvPr/>
        </p:nvSpPr>
        <p:spPr>
          <a:xfrm>
            <a:off x="7449044" y="3094171"/>
            <a:ext cx="1453803" cy="64008"/>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86" name="Flowchart: Delay 85">
            <a:extLst>
              <a:ext uri="{FF2B5EF4-FFF2-40B4-BE49-F238E27FC236}">
                <a16:creationId xmlns:a16="http://schemas.microsoft.com/office/drawing/2014/main" id="{D35CB5CD-6F03-FE28-1A53-02F2149C13BC}"/>
              </a:ext>
            </a:extLst>
          </p:cNvPr>
          <p:cNvSpPr/>
          <p:nvPr/>
        </p:nvSpPr>
        <p:spPr>
          <a:xfrm rot="5400000">
            <a:off x="7922785" y="3094171"/>
            <a:ext cx="506321" cy="506321"/>
          </a:xfrm>
          <a:prstGeom prst="flowChartDelay">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87" name="Rectangle 86">
            <a:extLst>
              <a:ext uri="{FF2B5EF4-FFF2-40B4-BE49-F238E27FC236}">
                <a16:creationId xmlns:a16="http://schemas.microsoft.com/office/drawing/2014/main" id="{8FA97DB4-14DE-7AC4-80A2-93D75DCE39FD}"/>
              </a:ext>
            </a:extLst>
          </p:cNvPr>
          <p:cNvSpPr/>
          <p:nvPr/>
        </p:nvSpPr>
        <p:spPr>
          <a:xfrm>
            <a:off x="5936212" y="3094171"/>
            <a:ext cx="1453803" cy="64008"/>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88" name="Flowchart: Delay 87">
            <a:extLst>
              <a:ext uri="{FF2B5EF4-FFF2-40B4-BE49-F238E27FC236}">
                <a16:creationId xmlns:a16="http://schemas.microsoft.com/office/drawing/2014/main" id="{8E429AB5-20AD-66D0-E63E-2A9E7D643877}"/>
              </a:ext>
            </a:extLst>
          </p:cNvPr>
          <p:cNvSpPr/>
          <p:nvPr/>
        </p:nvSpPr>
        <p:spPr>
          <a:xfrm rot="5400000">
            <a:off x="6409953" y="3094171"/>
            <a:ext cx="506321" cy="506321"/>
          </a:xfrm>
          <a:prstGeom prst="flowChartDelay">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89" name="Rectangle 88">
            <a:extLst>
              <a:ext uri="{FF2B5EF4-FFF2-40B4-BE49-F238E27FC236}">
                <a16:creationId xmlns:a16="http://schemas.microsoft.com/office/drawing/2014/main" id="{2DBDE27E-3959-975D-EFBD-951BD810B468}"/>
              </a:ext>
            </a:extLst>
          </p:cNvPr>
          <p:cNvSpPr/>
          <p:nvPr/>
        </p:nvSpPr>
        <p:spPr>
          <a:xfrm>
            <a:off x="4423378" y="3094171"/>
            <a:ext cx="1453803" cy="64008"/>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90" name="Flowchart: Delay 89">
            <a:extLst>
              <a:ext uri="{FF2B5EF4-FFF2-40B4-BE49-F238E27FC236}">
                <a16:creationId xmlns:a16="http://schemas.microsoft.com/office/drawing/2014/main" id="{1F8C9D1A-5C07-8FB7-78AD-DC09C75ACD15}"/>
              </a:ext>
            </a:extLst>
          </p:cNvPr>
          <p:cNvSpPr/>
          <p:nvPr/>
        </p:nvSpPr>
        <p:spPr>
          <a:xfrm rot="5400000">
            <a:off x="4897119" y="3094171"/>
            <a:ext cx="506321" cy="506321"/>
          </a:xfrm>
          <a:prstGeom prst="flowChartDelay">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91" name="Rectangle 90">
            <a:extLst>
              <a:ext uri="{FF2B5EF4-FFF2-40B4-BE49-F238E27FC236}">
                <a16:creationId xmlns:a16="http://schemas.microsoft.com/office/drawing/2014/main" id="{460CAE09-B38B-E97F-1737-8CE420AC4B67}"/>
              </a:ext>
            </a:extLst>
          </p:cNvPr>
          <p:cNvSpPr/>
          <p:nvPr/>
        </p:nvSpPr>
        <p:spPr>
          <a:xfrm>
            <a:off x="2910546" y="3094171"/>
            <a:ext cx="1453803" cy="64008"/>
          </a:xfrm>
          <a:prstGeom prst="rect">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92" name="Flowchart: Delay 91">
            <a:extLst>
              <a:ext uri="{FF2B5EF4-FFF2-40B4-BE49-F238E27FC236}">
                <a16:creationId xmlns:a16="http://schemas.microsoft.com/office/drawing/2014/main" id="{A316B8E4-DB95-A8CA-C88A-F27E7A1353A3}"/>
              </a:ext>
            </a:extLst>
          </p:cNvPr>
          <p:cNvSpPr/>
          <p:nvPr/>
        </p:nvSpPr>
        <p:spPr>
          <a:xfrm rot="5400000">
            <a:off x="3384287" y="3094171"/>
            <a:ext cx="506321" cy="506321"/>
          </a:xfrm>
          <a:prstGeom prst="flowChartDelay">
            <a:avLst/>
          </a:prstGeom>
          <a:solidFill>
            <a:srgbClr val="4571B6"/>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lstStyle/>
          <a:p>
            <a:pPr marL="0" marR="0" lvl="0" indent="0" algn="l" defTabSz="914400" rtl="0" eaLnBrk="1" fontAlgn="auto" latinLnBrk="0" hangingPunct="1">
              <a:lnSpc>
                <a:spcPct val="100000"/>
              </a:lnSpc>
              <a:spcBef>
                <a:spcPts val="0"/>
              </a:spcBef>
              <a:spcAft>
                <a:spcPts val="300"/>
              </a:spcAft>
              <a:buClrTx/>
              <a:buSzPct val="70000"/>
              <a:buFontTx/>
              <a:buNone/>
              <a:tabLst/>
              <a:defRPr/>
            </a:pPr>
            <a:endParaRPr kumimoji="0" lang="en-US" sz="12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pic>
        <p:nvPicPr>
          <p:cNvPr id="93" name="Graphic 92">
            <a:extLst>
              <a:ext uri="{FF2B5EF4-FFF2-40B4-BE49-F238E27FC236}">
                <a16:creationId xmlns:a16="http://schemas.microsoft.com/office/drawing/2014/main" id="{A4C0D1E2-5BC7-E4A1-296B-BF13CCE8B446}"/>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10200" y="3199633"/>
            <a:ext cx="280159" cy="280157"/>
          </a:xfrm>
          <a:prstGeom prst="rect">
            <a:avLst/>
          </a:prstGeom>
        </p:spPr>
      </p:pic>
      <p:pic>
        <p:nvPicPr>
          <p:cNvPr id="94" name="Shape18_20231227_022858">
            <a:extLst>
              <a:ext uri="{FF2B5EF4-FFF2-40B4-BE49-F238E27FC236}">
                <a16:creationId xmlns:a16="http://schemas.microsoft.com/office/drawing/2014/main" id="{0181A6F4-7A40-10EF-615A-9875EE2A015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23034" y="3199633"/>
            <a:ext cx="280159" cy="280157"/>
          </a:xfrm>
          <a:prstGeom prst="rect">
            <a:avLst/>
          </a:prstGeom>
        </p:spPr>
      </p:pic>
      <p:pic>
        <p:nvPicPr>
          <p:cNvPr id="95" name="Graphic 94">
            <a:extLst>
              <a:ext uri="{FF2B5EF4-FFF2-40B4-BE49-F238E27FC236}">
                <a16:creationId xmlns:a16="http://schemas.microsoft.com/office/drawing/2014/main" id="{00C55EEE-B2DE-EEBF-623F-A9630F6A1DBE}"/>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035866" y="3199633"/>
            <a:ext cx="280159" cy="280157"/>
          </a:xfrm>
          <a:prstGeom prst="rect">
            <a:avLst/>
          </a:prstGeom>
        </p:spPr>
      </p:pic>
      <p:pic>
        <p:nvPicPr>
          <p:cNvPr id="96" name="Graphic 95">
            <a:extLst>
              <a:ext uri="{FF2B5EF4-FFF2-40B4-BE49-F238E27FC236}">
                <a16:creationId xmlns:a16="http://schemas.microsoft.com/office/drawing/2014/main" id="{3715A5FA-E082-0CA3-FF2A-5B81BD9D9D7A}"/>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497369" y="3199633"/>
            <a:ext cx="280157" cy="280157"/>
          </a:xfrm>
          <a:prstGeom prst="rect">
            <a:avLst/>
          </a:prstGeom>
        </p:spPr>
      </p:pic>
    </p:spTree>
    <p:extLst>
      <p:ext uri="{BB962C8B-B14F-4D97-AF65-F5344CB8AC3E}">
        <p14:creationId xmlns:p14="http://schemas.microsoft.com/office/powerpoint/2010/main" val="168459700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33">
            <a:extLst>
              <a:ext uri="{FF2B5EF4-FFF2-40B4-BE49-F238E27FC236}">
                <a16:creationId xmlns:a16="http://schemas.microsoft.com/office/drawing/2014/main" id="{2D9536ED-5A9B-C9A8-D666-7755B5D8FC24}"/>
              </a:ext>
            </a:extLst>
          </p:cNvPr>
          <p:cNvSpPr>
            <a:spLocks noGrp="1"/>
          </p:cNvSpPr>
          <p:nvPr>
            <p:ph type="title"/>
          </p:nvPr>
        </p:nvSpPr>
        <p:spPr>
          <a:xfrm>
            <a:off x="202688" y="53113"/>
            <a:ext cx="7051040" cy="732441"/>
          </a:xfrm>
        </p:spPr>
        <p:txBody>
          <a:bodyPr vert="horz" wrap="square" lIns="0" tIns="0" rIns="0" bIns="0" rtlCol="0" anchor="ctr">
            <a:normAutofit/>
          </a:bodyPr>
          <a:lstStyle/>
          <a:p>
            <a:r>
              <a:rPr lang="en-US" dirty="0">
                <a:latin typeface="Neue Haas Grotesk Text Pro" panose="020B0504020202020204" pitchFamily="34" charset="0"/>
              </a:rPr>
              <a:t>Unlock Unmatched IT Flexibility and Efficiency with Hitachi </a:t>
            </a:r>
            <a:r>
              <a:rPr lang="en-US" dirty="0">
                <a:solidFill>
                  <a:schemeClr val="accent2"/>
                </a:solidFill>
                <a:latin typeface="Neue Haas Grotesk Text Pro" panose="020B0504020202020204" pitchFamily="34" charset="0"/>
              </a:rPr>
              <a:t>EverFlex</a:t>
            </a:r>
            <a:r>
              <a:rPr lang="en-US" dirty="0">
                <a:latin typeface="Neue Haas Grotesk Text Pro" panose="020B0504020202020204" pitchFamily="34" charset="0"/>
              </a:rPr>
              <a:t> Levels of Service</a:t>
            </a:r>
          </a:p>
        </p:txBody>
      </p:sp>
      <p:sp>
        <p:nvSpPr>
          <p:cNvPr id="105" name="Rectangle: Rounded Corners 104">
            <a:extLst>
              <a:ext uri="{FF2B5EF4-FFF2-40B4-BE49-F238E27FC236}">
                <a16:creationId xmlns:a16="http://schemas.microsoft.com/office/drawing/2014/main" id="{3E06A396-30B2-7545-37A3-587514860D8B}"/>
              </a:ext>
            </a:extLst>
          </p:cNvPr>
          <p:cNvSpPr/>
          <p:nvPr/>
        </p:nvSpPr>
        <p:spPr>
          <a:xfrm>
            <a:off x="1074421" y="886265"/>
            <a:ext cx="1898659" cy="3341077"/>
          </a:xfrm>
          <a:prstGeom prst="roundRect">
            <a:avLst>
              <a:gd name="adj" fmla="val 3098"/>
            </a:avLst>
          </a:prstGeom>
          <a:solidFill>
            <a:schemeClr val="bg1"/>
          </a:solidFill>
          <a:ln w="3175" cap="flat" cmpd="sng" algn="ctr">
            <a:solidFill>
              <a:schemeClr val="bg1">
                <a:lumMod val="85000"/>
              </a:schemeClr>
            </a:solidFill>
            <a:prstDash val="solid"/>
            <a:miter lim="800000"/>
          </a:ln>
          <a:effectLst/>
        </p:spPr>
        <p:txBody>
          <a:bodyPr lIns="72000" tIns="73152" rIns="72000" bIns="73152" rtlCol="0" anchor="t"/>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1965"/>
              </a:solidFill>
              <a:effectLst/>
              <a:uLnTx/>
              <a:uFillTx/>
              <a:latin typeface="Neue Haas Grotesk Text Pro" panose="020B0504020202020204" pitchFamily="34" charset="0"/>
              <a:ea typeface="+mn-ea"/>
              <a:cs typeface="+mn-cs"/>
            </a:endParaRPr>
          </a:p>
        </p:txBody>
      </p:sp>
      <p:sp>
        <p:nvSpPr>
          <p:cNvPr id="106" name="Rectangle: Rounded Corners 105">
            <a:extLst>
              <a:ext uri="{FF2B5EF4-FFF2-40B4-BE49-F238E27FC236}">
                <a16:creationId xmlns:a16="http://schemas.microsoft.com/office/drawing/2014/main" id="{BBBAFCF4-271F-2EB4-FEDF-64DC211F3175}"/>
              </a:ext>
            </a:extLst>
          </p:cNvPr>
          <p:cNvSpPr/>
          <p:nvPr/>
        </p:nvSpPr>
        <p:spPr>
          <a:xfrm>
            <a:off x="3055195" y="886265"/>
            <a:ext cx="1898659" cy="3341077"/>
          </a:xfrm>
          <a:prstGeom prst="roundRect">
            <a:avLst>
              <a:gd name="adj" fmla="val 3098"/>
            </a:avLst>
          </a:prstGeom>
          <a:solidFill>
            <a:schemeClr val="bg1"/>
          </a:solidFill>
          <a:ln w="3175" cap="flat" cmpd="sng" algn="ctr">
            <a:solidFill>
              <a:schemeClr val="bg1">
                <a:lumMod val="85000"/>
              </a:schemeClr>
            </a:solidFill>
            <a:prstDash val="solid"/>
            <a:miter lim="800000"/>
          </a:ln>
          <a:effectLst/>
        </p:spPr>
        <p:txBody>
          <a:bodyPr lIns="72000" tIns="73152" rIns="72000" bIns="73152" rtlCol="0" anchor="t"/>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1965"/>
              </a:solidFill>
              <a:effectLst/>
              <a:uLnTx/>
              <a:uFillTx/>
              <a:latin typeface="Neue Haas Grotesk Text Pro" panose="020B0504020202020204" pitchFamily="34" charset="0"/>
              <a:ea typeface="+mn-ea"/>
              <a:cs typeface="+mn-cs"/>
            </a:endParaRPr>
          </a:p>
        </p:txBody>
      </p:sp>
      <p:sp>
        <p:nvSpPr>
          <p:cNvPr id="107" name="Rectangle: Rounded Corners 106">
            <a:extLst>
              <a:ext uri="{FF2B5EF4-FFF2-40B4-BE49-F238E27FC236}">
                <a16:creationId xmlns:a16="http://schemas.microsoft.com/office/drawing/2014/main" id="{8FED88CB-0EB2-7B93-9D91-8B99FEA4547A}"/>
              </a:ext>
            </a:extLst>
          </p:cNvPr>
          <p:cNvSpPr/>
          <p:nvPr/>
        </p:nvSpPr>
        <p:spPr>
          <a:xfrm>
            <a:off x="5035968" y="886265"/>
            <a:ext cx="1898659" cy="3341077"/>
          </a:xfrm>
          <a:prstGeom prst="roundRect">
            <a:avLst>
              <a:gd name="adj" fmla="val 3098"/>
            </a:avLst>
          </a:prstGeom>
          <a:solidFill>
            <a:schemeClr val="bg1"/>
          </a:solidFill>
          <a:ln w="3175" cap="flat" cmpd="sng" algn="ctr">
            <a:solidFill>
              <a:schemeClr val="bg1">
                <a:lumMod val="85000"/>
              </a:schemeClr>
            </a:solidFill>
            <a:prstDash val="solid"/>
            <a:miter lim="800000"/>
          </a:ln>
          <a:effectLst/>
        </p:spPr>
        <p:txBody>
          <a:bodyPr lIns="72000" tIns="73152" rIns="72000" bIns="73152" rtlCol="0" anchor="t"/>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1965"/>
              </a:solidFill>
              <a:effectLst/>
              <a:uLnTx/>
              <a:uFillTx/>
              <a:latin typeface="Neue Haas Grotesk Text Pro" panose="020B0504020202020204" pitchFamily="34" charset="0"/>
              <a:ea typeface="+mn-ea"/>
              <a:cs typeface="+mn-cs"/>
            </a:endParaRPr>
          </a:p>
        </p:txBody>
      </p:sp>
      <p:sp>
        <p:nvSpPr>
          <p:cNvPr id="108" name="Rectangle: Rounded Corners 107">
            <a:extLst>
              <a:ext uri="{FF2B5EF4-FFF2-40B4-BE49-F238E27FC236}">
                <a16:creationId xmlns:a16="http://schemas.microsoft.com/office/drawing/2014/main" id="{DA695285-6EB2-A347-0FB4-50E15295BF78}"/>
              </a:ext>
            </a:extLst>
          </p:cNvPr>
          <p:cNvSpPr/>
          <p:nvPr/>
        </p:nvSpPr>
        <p:spPr>
          <a:xfrm>
            <a:off x="7016742" y="886265"/>
            <a:ext cx="1898659" cy="3341077"/>
          </a:xfrm>
          <a:prstGeom prst="roundRect">
            <a:avLst>
              <a:gd name="adj" fmla="val 3098"/>
            </a:avLst>
          </a:prstGeom>
          <a:solidFill>
            <a:schemeClr val="bg1"/>
          </a:solidFill>
          <a:ln w="3175" cap="flat" cmpd="sng" algn="ctr">
            <a:solidFill>
              <a:schemeClr val="bg1">
                <a:lumMod val="85000"/>
              </a:schemeClr>
            </a:solidFill>
            <a:prstDash val="solid"/>
            <a:miter lim="800000"/>
          </a:ln>
          <a:effectLst/>
        </p:spPr>
        <p:txBody>
          <a:bodyPr lIns="72000" tIns="73152" rIns="72000" bIns="73152" rtlCol="0" anchor="t"/>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1965"/>
              </a:solidFill>
              <a:effectLst/>
              <a:uLnTx/>
              <a:uFillTx/>
              <a:latin typeface="Neue Haas Grotesk Text Pro" panose="020B0504020202020204" pitchFamily="34" charset="0"/>
              <a:ea typeface="+mn-ea"/>
              <a:cs typeface="+mn-cs"/>
            </a:endParaRPr>
          </a:p>
        </p:txBody>
      </p:sp>
      <p:sp>
        <p:nvSpPr>
          <p:cNvPr id="109" name="Rectangle: Rounded Corners 108">
            <a:extLst>
              <a:ext uri="{FF2B5EF4-FFF2-40B4-BE49-F238E27FC236}">
                <a16:creationId xmlns:a16="http://schemas.microsoft.com/office/drawing/2014/main" id="{B161B0AB-758B-D9E8-2C74-BEB12C5A5136}"/>
              </a:ext>
            </a:extLst>
          </p:cNvPr>
          <p:cNvSpPr/>
          <p:nvPr/>
        </p:nvSpPr>
        <p:spPr>
          <a:xfrm>
            <a:off x="7016742" y="886265"/>
            <a:ext cx="1898659" cy="536823"/>
          </a:xfrm>
          <a:prstGeom prst="roundRect">
            <a:avLst>
              <a:gd name="adj" fmla="val 10636"/>
            </a:avLst>
          </a:prstGeom>
          <a:solidFill>
            <a:schemeClr val="accent5"/>
          </a:solidFill>
          <a:ln w="12700" cap="flat" cmpd="sng" algn="ctr">
            <a:no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rPr>
              <a:t>Managed</a:t>
            </a:r>
          </a:p>
        </p:txBody>
      </p:sp>
      <p:sp>
        <p:nvSpPr>
          <p:cNvPr id="110" name="Rectangle: Rounded Corners 109">
            <a:extLst>
              <a:ext uri="{FF2B5EF4-FFF2-40B4-BE49-F238E27FC236}">
                <a16:creationId xmlns:a16="http://schemas.microsoft.com/office/drawing/2014/main" id="{59E9C4D7-56FF-EF18-AA7A-D25D8D16A232}"/>
              </a:ext>
            </a:extLst>
          </p:cNvPr>
          <p:cNvSpPr/>
          <p:nvPr/>
        </p:nvSpPr>
        <p:spPr>
          <a:xfrm>
            <a:off x="5035968" y="886265"/>
            <a:ext cx="1898659" cy="536823"/>
          </a:xfrm>
          <a:prstGeom prst="roundRect">
            <a:avLst>
              <a:gd name="adj" fmla="val 10636"/>
            </a:avLst>
          </a:prstGeom>
          <a:solidFill>
            <a:schemeClr val="accent3"/>
          </a:solidFill>
          <a:ln w="12700" cap="flat" cmpd="sng" algn="ctr">
            <a:no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rPr>
              <a:t>Foundation</a:t>
            </a:r>
          </a:p>
        </p:txBody>
      </p:sp>
      <p:sp>
        <p:nvSpPr>
          <p:cNvPr id="111" name="Rectangle: Rounded Corners 110">
            <a:extLst>
              <a:ext uri="{FF2B5EF4-FFF2-40B4-BE49-F238E27FC236}">
                <a16:creationId xmlns:a16="http://schemas.microsoft.com/office/drawing/2014/main" id="{B33A4109-0245-FB53-C03D-FE33594DD173}"/>
              </a:ext>
            </a:extLst>
          </p:cNvPr>
          <p:cNvSpPr/>
          <p:nvPr/>
        </p:nvSpPr>
        <p:spPr>
          <a:xfrm>
            <a:off x="3055195" y="886265"/>
            <a:ext cx="1898659" cy="536823"/>
          </a:xfrm>
          <a:prstGeom prst="roundRect">
            <a:avLst>
              <a:gd name="adj" fmla="val 10636"/>
            </a:avLst>
          </a:prstGeom>
          <a:solidFill>
            <a:schemeClr val="accent2"/>
          </a:solidFill>
          <a:ln w="12700" cap="flat" cmpd="sng" algn="ctr">
            <a:no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rPr>
              <a:t>Consumption</a:t>
            </a:r>
          </a:p>
        </p:txBody>
      </p:sp>
      <p:sp>
        <p:nvSpPr>
          <p:cNvPr id="112" name="Rectangle: Rounded Corners 111">
            <a:extLst>
              <a:ext uri="{FF2B5EF4-FFF2-40B4-BE49-F238E27FC236}">
                <a16:creationId xmlns:a16="http://schemas.microsoft.com/office/drawing/2014/main" id="{FEA03860-4630-F118-6E26-A5778948D566}"/>
              </a:ext>
            </a:extLst>
          </p:cNvPr>
          <p:cNvSpPr/>
          <p:nvPr/>
        </p:nvSpPr>
        <p:spPr>
          <a:xfrm>
            <a:off x="1074421" y="886265"/>
            <a:ext cx="1898659" cy="536823"/>
          </a:xfrm>
          <a:prstGeom prst="roundRect">
            <a:avLst>
              <a:gd name="adj" fmla="val 10636"/>
            </a:avLst>
          </a:prstGeom>
          <a:solidFill>
            <a:schemeClr val="accent6"/>
          </a:solidFill>
          <a:ln w="12700" cap="flat" cmpd="sng" algn="ctr">
            <a:no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222222"/>
                </a:solidFill>
                <a:effectLst/>
                <a:uLnTx/>
                <a:uFillTx/>
                <a:latin typeface="Times New Roman" panose="02020603050405020304" pitchFamily="18" charset="0"/>
                <a:ea typeface="+mn-ea"/>
                <a:cs typeface="Times New Roman" panose="02020603050405020304" pitchFamily="18" charset="0"/>
              </a:rPr>
              <a:t>Product</a:t>
            </a:r>
          </a:p>
        </p:txBody>
      </p:sp>
      <p:sp>
        <p:nvSpPr>
          <p:cNvPr id="113" name="Rectangle: Rounded Corners 112">
            <a:extLst>
              <a:ext uri="{FF2B5EF4-FFF2-40B4-BE49-F238E27FC236}">
                <a16:creationId xmlns:a16="http://schemas.microsoft.com/office/drawing/2014/main" id="{D6598B09-4E9D-9B78-8FD9-F192BDFBF18C}"/>
              </a:ext>
            </a:extLst>
          </p:cNvPr>
          <p:cNvSpPr/>
          <p:nvPr/>
        </p:nvSpPr>
        <p:spPr>
          <a:xfrm>
            <a:off x="202689" y="1471748"/>
            <a:ext cx="810772" cy="2755594"/>
          </a:xfrm>
          <a:prstGeom prst="roundRect">
            <a:avLst>
              <a:gd name="adj" fmla="val 5478"/>
            </a:avLst>
          </a:prstGeom>
          <a:solidFill>
            <a:schemeClr val="accent1"/>
          </a:solidFill>
          <a:ln w="12700" cap="flat" cmpd="sng" algn="ctr">
            <a:no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222222"/>
                </a:solidFill>
                <a:effectLst/>
                <a:uLnTx/>
                <a:uFillTx/>
                <a:latin typeface="Neue Haas Grotesk Text Pro" panose="020B0504020202020204" pitchFamily="34" charset="0"/>
                <a:ea typeface="+mn-ea"/>
                <a:cs typeface="+mn-cs"/>
              </a:rPr>
              <a:t>Business Value and TCO Savings</a:t>
            </a:r>
          </a:p>
        </p:txBody>
      </p:sp>
      <p:sp>
        <p:nvSpPr>
          <p:cNvPr id="114" name="Rectangle: Rounded Corners 113">
            <a:extLst>
              <a:ext uri="{FF2B5EF4-FFF2-40B4-BE49-F238E27FC236}">
                <a16:creationId xmlns:a16="http://schemas.microsoft.com/office/drawing/2014/main" id="{9A4EEC43-CE12-B54F-4CB8-98960D649D90}"/>
              </a:ext>
            </a:extLst>
          </p:cNvPr>
          <p:cNvSpPr/>
          <p:nvPr/>
        </p:nvSpPr>
        <p:spPr>
          <a:xfrm>
            <a:off x="190500" y="4305299"/>
            <a:ext cx="8724900" cy="3905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sym typeface="NeueHaasGroteskText Pro" panose="020B0504020202020204" pitchFamily="34" charset="0"/>
              </a:rPr>
              <a:t>Professional Services &amp; Technology</a:t>
            </a:r>
          </a:p>
        </p:txBody>
      </p:sp>
      <p:sp>
        <p:nvSpPr>
          <p:cNvPr id="115" name="Oval 114">
            <a:extLst>
              <a:ext uri="{FF2B5EF4-FFF2-40B4-BE49-F238E27FC236}">
                <a16:creationId xmlns:a16="http://schemas.microsoft.com/office/drawing/2014/main" id="{3F86715B-3EB6-95E1-A506-09906951936E}"/>
              </a:ext>
            </a:extLst>
          </p:cNvPr>
          <p:cNvSpPr/>
          <p:nvPr/>
        </p:nvSpPr>
        <p:spPr>
          <a:xfrm>
            <a:off x="238125" y="4352924"/>
            <a:ext cx="295276" cy="295274"/>
          </a:xfrm>
          <a:prstGeom prst="ellipse">
            <a:avLst/>
          </a:prstGeom>
          <a:solidFill>
            <a:schemeClr val="bg1"/>
          </a:solidFill>
          <a:ln>
            <a:no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endParaRPr>
          </a:p>
        </p:txBody>
      </p:sp>
      <p:sp>
        <p:nvSpPr>
          <p:cNvPr id="116" name="Rectangle: Rounded Corners 115">
            <a:extLst>
              <a:ext uri="{FF2B5EF4-FFF2-40B4-BE49-F238E27FC236}">
                <a16:creationId xmlns:a16="http://schemas.microsoft.com/office/drawing/2014/main" id="{DD2B4852-3964-1C82-B10B-837C9B5E89D1}"/>
              </a:ext>
            </a:extLst>
          </p:cNvPr>
          <p:cNvSpPr/>
          <p:nvPr/>
        </p:nvSpPr>
        <p:spPr>
          <a:xfrm>
            <a:off x="3045655" y="2674670"/>
            <a:ext cx="5869745" cy="358211"/>
          </a:xfrm>
          <a:prstGeom prst="roundRect">
            <a:avLst>
              <a:gd name="adj" fmla="val 13326"/>
            </a:avLst>
          </a:prstGeom>
          <a:solidFill>
            <a:srgbClr val="F1F1F1"/>
          </a:solidFill>
          <a:ln>
            <a:solidFill>
              <a:schemeClr val="accent2"/>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CC0000"/>
                </a:solidFill>
                <a:effectLst/>
                <a:uLnTx/>
                <a:uFillTx/>
                <a:latin typeface="Neue Haas Grotesk Text Pro" panose="020B0504020202020204" pitchFamily="34" charset="0"/>
                <a:ea typeface="+mn-ea"/>
                <a:cs typeface="+mn-cs"/>
              </a:rPr>
              <a:t>Consumption or Subscription-based billing with Service Level Agreement</a:t>
            </a:r>
          </a:p>
        </p:txBody>
      </p:sp>
      <p:sp>
        <p:nvSpPr>
          <p:cNvPr id="117" name="Rectangle: Rounded Corners 116">
            <a:extLst>
              <a:ext uri="{FF2B5EF4-FFF2-40B4-BE49-F238E27FC236}">
                <a16:creationId xmlns:a16="http://schemas.microsoft.com/office/drawing/2014/main" id="{7D1ED65F-F4DD-9314-57BF-0AC7690EE0AA}"/>
              </a:ext>
            </a:extLst>
          </p:cNvPr>
          <p:cNvSpPr/>
          <p:nvPr/>
        </p:nvSpPr>
        <p:spPr>
          <a:xfrm>
            <a:off x="5036820" y="3209494"/>
            <a:ext cx="3878580" cy="358211"/>
          </a:xfrm>
          <a:prstGeom prst="roundRect">
            <a:avLst>
              <a:gd name="adj" fmla="val 13326"/>
            </a:avLst>
          </a:prstGeom>
          <a:solidFill>
            <a:srgbClr val="F1F1F1"/>
          </a:solidFill>
          <a:ln>
            <a:solidFill>
              <a:schemeClr val="accent3"/>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93419A"/>
                </a:solidFill>
                <a:effectLst/>
                <a:uLnTx/>
                <a:uFillTx/>
                <a:latin typeface="Neue Haas Grotesk Text Pro" panose="020B0504020202020204" pitchFamily="34" charset="0"/>
                <a:ea typeface="+mn-ea"/>
                <a:cs typeface="+mn-cs"/>
              </a:rPr>
              <a:t>EverFlex Control: Advanced Observability, Monitoring, Reporting, AIOps, services-based consumption</a:t>
            </a:r>
          </a:p>
        </p:txBody>
      </p:sp>
      <p:sp>
        <p:nvSpPr>
          <p:cNvPr id="118" name="Rectangle: Rounded Corners 117">
            <a:extLst>
              <a:ext uri="{FF2B5EF4-FFF2-40B4-BE49-F238E27FC236}">
                <a16:creationId xmlns:a16="http://schemas.microsoft.com/office/drawing/2014/main" id="{B1E4F210-03C9-9414-EDF8-0AC1DFDCF80C}"/>
              </a:ext>
            </a:extLst>
          </p:cNvPr>
          <p:cNvSpPr/>
          <p:nvPr/>
        </p:nvSpPr>
        <p:spPr>
          <a:xfrm>
            <a:off x="7016741" y="3744318"/>
            <a:ext cx="1898659" cy="358211"/>
          </a:xfrm>
          <a:prstGeom prst="roundRect">
            <a:avLst>
              <a:gd name="adj" fmla="val 13326"/>
            </a:avLst>
          </a:prstGeom>
          <a:solidFill>
            <a:srgbClr val="F1F1F1"/>
          </a:solidFill>
          <a:ln>
            <a:solidFill>
              <a:schemeClr val="accent5"/>
            </a:solidFill>
          </a:ln>
          <a:effectLst/>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571B6"/>
                </a:solidFill>
                <a:effectLst/>
                <a:uLnTx/>
                <a:uFillTx/>
                <a:latin typeface="Neue Haas Grotesk Text Pro" panose="020B0504020202020204" pitchFamily="34" charset="0"/>
                <a:ea typeface="+mn-ea"/>
                <a:cs typeface="+mn-cs"/>
              </a:rPr>
              <a:t>24/7 Business Aligned Service Operations </a:t>
            </a:r>
          </a:p>
        </p:txBody>
      </p:sp>
      <p:pic>
        <p:nvPicPr>
          <p:cNvPr id="119" name="Graphic 118">
            <a:extLst>
              <a:ext uri="{FF2B5EF4-FFF2-40B4-BE49-F238E27FC236}">
                <a16:creationId xmlns:a16="http://schemas.microsoft.com/office/drawing/2014/main" id="{ECE0CBD8-5108-346D-40B1-96DF896121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95150" y="1599017"/>
            <a:ext cx="457200" cy="406400"/>
          </a:xfrm>
          <a:prstGeom prst="rect">
            <a:avLst/>
          </a:prstGeom>
        </p:spPr>
      </p:pic>
      <p:pic>
        <p:nvPicPr>
          <p:cNvPr id="120" name="Graphic 119">
            <a:extLst>
              <a:ext uri="{FF2B5EF4-FFF2-40B4-BE49-F238E27FC236}">
                <a16:creationId xmlns:a16="http://schemas.microsoft.com/office/drawing/2014/main" id="{6CCB2DBB-A679-5D78-2CAA-B90DB1FB04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75924" y="1587905"/>
            <a:ext cx="457200" cy="428625"/>
          </a:xfrm>
          <a:prstGeom prst="rect">
            <a:avLst/>
          </a:prstGeom>
        </p:spPr>
      </p:pic>
      <p:pic>
        <p:nvPicPr>
          <p:cNvPr id="121" name="Graphic 120">
            <a:extLst>
              <a:ext uri="{FF2B5EF4-FFF2-40B4-BE49-F238E27FC236}">
                <a16:creationId xmlns:a16="http://schemas.microsoft.com/office/drawing/2014/main" id="{E695930C-C21C-A565-57A3-5BB3A7E144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37471" y="1568855"/>
            <a:ext cx="457200" cy="466725"/>
          </a:xfrm>
          <a:prstGeom prst="rect">
            <a:avLst/>
          </a:prstGeom>
        </p:spPr>
      </p:pic>
      <p:pic>
        <p:nvPicPr>
          <p:cNvPr id="122" name="Graphic 121">
            <a:extLst>
              <a:ext uri="{FF2B5EF4-FFF2-40B4-BE49-F238E27FC236}">
                <a16:creationId xmlns:a16="http://schemas.microsoft.com/office/drawing/2014/main" id="{304200CA-BD03-0A47-914E-7A435C3DE0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6697" y="1568301"/>
            <a:ext cx="457200" cy="467833"/>
          </a:xfrm>
          <a:prstGeom prst="rect">
            <a:avLst/>
          </a:prstGeom>
        </p:spPr>
      </p:pic>
      <p:pic>
        <p:nvPicPr>
          <p:cNvPr id="123" name="Graphic 122">
            <a:extLst>
              <a:ext uri="{FF2B5EF4-FFF2-40B4-BE49-F238E27FC236}">
                <a16:creationId xmlns:a16="http://schemas.microsoft.com/office/drawing/2014/main" id="{F35882AE-ABAA-CA62-E831-96BAA2396C7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5195" y="1960279"/>
            <a:ext cx="365760" cy="365760"/>
          </a:xfrm>
          <a:prstGeom prst="rect">
            <a:avLst/>
          </a:prstGeom>
        </p:spPr>
      </p:pic>
      <p:pic>
        <p:nvPicPr>
          <p:cNvPr id="124" name="Graphic 123">
            <a:extLst>
              <a:ext uri="{FF2B5EF4-FFF2-40B4-BE49-F238E27FC236}">
                <a16:creationId xmlns:a16="http://schemas.microsoft.com/office/drawing/2014/main" id="{DCC1CE4B-4A76-1CBF-BA8F-774E15D631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4323" y="4395053"/>
            <a:ext cx="182880" cy="211016"/>
          </a:xfrm>
          <a:prstGeom prst="rect">
            <a:avLst/>
          </a:prstGeom>
        </p:spPr>
      </p:pic>
      <p:sp>
        <p:nvSpPr>
          <p:cNvPr id="125" name="TextBox 124">
            <a:extLst>
              <a:ext uri="{FF2B5EF4-FFF2-40B4-BE49-F238E27FC236}">
                <a16:creationId xmlns:a16="http://schemas.microsoft.com/office/drawing/2014/main" id="{DDFE112C-D9B2-BC67-E88C-B9D6E1884A5B}"/>
              </a:ext>
            </a:extLst>
          </p:cNvPr>
          <p:cNvSpPr txBox="1"/>
          <p:nvPr/>
        </p:nvSpPr>
        <p:spPr>
          <a:xfrm>
            <a:off x="1236640" y="2216876"/>
            <a:ext cx="1574221"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Neue Haas Grotesk Text Pro" panose="020B0504020202020204" pitchFamily="34" charset="77"/>
                <a:ea typeface="+mn-ea"/>
                <a:cs typeface="+mn-cs"/>
              </a:rPr>
              <a:t>Purchase or Lease</a:t>
            </a:r>
            <a:endParaRPr kumimoji="0" lang="es-ES" sz="1100" b="1" i="0" u="none" strike="noStrike" kern="1200" cap="none" spc="0" normalizeH="0" baseline="0" noProof="0" dirty="0" err="1">
              <a:ln>
                <a:noFill/>
              </a:ln>
              <a:solidFill>
                <a:sysClr val="windowText" lastClr="000000"/>
              </a:solidFill>
              <a:effectLst/>
              <a:uLnTx/>
              <a:uFillTx/>
              <a:latin typeface="Neue Haas Grotesk Text Pro" panose="020B0504020202020204" pitchFamily="34" charset="77"/>
              <a:ea typeface="+mn-ea"/>
              <a:cs typeface="+mn-cs"/>
            </a:endParaRPr>
          </a:p>
        </p:txBody>
      </p:sp>
      <p:sp>
        <p:nvSpPr>
          <p:cNvPr id="126" name="TextBox 125">
            <a:extLst>
              <a:ext uri="{FF2B5EF4-FFF2-40B4-BE49-F238E27FC236}">
                <a16:creationId xmlns:a16="http://schemas.microsoft.com/office/drawing/2014/main" id="{D9178C9D-53AD-77CD-374F-7A868A5D9840}"/>
              </a:ext>
            </a:extLst>
          </p:cNvPr>
          <p:cNvSpPr txBox="1"/>
          <p:nvPr/>
        </p:nvSpPr>
        <p:spPr>
          <a:xfrm>
            <a:off x="3217414" y="2216876"/>
            <a:ext cx="1574221"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Neue Haas Grotesk Text Pro" panose="020B0504020202020204" pitchFamily="34" charset="77"/>
                <a:ea typeface="+mn-ea"/>
                <a:cs typeface="+mn-cs"/>
              </a:rPr>
              <a:t>Consumption Based Pricing</a:t>
            </a:r>
            <a:endParaRPr kumimoji="0" lang="es-ES" sz="1100" b="1" i="0" u="none" strike="noStrike" kern="1200" cap="none" spc="0" normalizeH="0" baseline="0" noProof="0" dirty="0" err="1">
              <a:ln>
                <a:noFill/>
              </a:ln>
              <a:solidFill>
                <a:sysClr val="windowText" lastClr="000000"/>
              </a:solidFill>
              <a:effectLst/>
              <a:uLnTx/>
              <a:uFillTx/>
              <a:latin typeface="Neue Haas Grotesk Text Pro" panose="020B0504020202020204" pitchFamily="34" charset="77"/>
              <a:ea typeface="+mn-ea"/>
              <a:cs typeface="+mn-cs"/>
            </a:endParaRPr>
          </a:p>
        </p:txBody>
      </p:sp>
      <p:sp>
        <p:nvSpPr>
          <p:cNvPr id="127" name="TextBox 126">
            <a:extLst>
              <a:ext uri="{FF2B5EF4-FFF2-40B4-BE49-F238E27FC236}">
                <a16:creationId xmlns:a16="http://schemas.microsoft.com/office/drawing/2014/main" id="{02DD761B-58E3-F33B-9BE7-A6F0E4F177E5}"/>
              </a:ext>
            </a:extLst>
          </p:cNvPr>
          <p:cNvSpPr txBox="1"/>
          <p:nvPr/>
        </p:nvSpPr>
        <p:spPr>
          <a:xfrm>
            <a:off x="5284991" y="2216876"/>
            <a:ext cx="1400612" cy="3046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Neue Haas Grotesk Text Pro" panose="020B0504020202020204" pitchFamily="34" charset="77"/>
                <a:ea typeface="+mn-ea"/>
                <a:cs typeface="+mn-cs"/>
              </a:rPr>
              <a:t>Client o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Neue Haas Grotesk Text Pro" panose="020B0504020202020204" pitchFamily="34" charset="77"/>
                <a:ea typeface="+mn-ea"/>
                <a:cs typeface="+mn-cs"/>
              </a:rPr>
              <a:t>Partner Managed</a:t>
            </a:r>
            <a:endParaRPr kumimoji="0" lang="es-ES" sz="1100" b="1" i="0" u="none" strike="noStrike" kern="1200" cap="none" spc="0" normalizeH="0" baseline="0" noProof="0" dirty="0" err="1">
              <a:ln>
                <a:noFill/>
              </a:ln>
              <a:solidFill>
                <a:sysClr val="windowText" lastClr="000000"/>
              </a:solidFill>
              <a:effectLst/>
              <a:uLnTx/>
              <a:uFillTx/>
              <a:latin typeface="Neue Haas Grotesk Text Pro" panose="020B0504020202020204" pitchFamily="34" charset="77"/>
              <a:ea typeface="+mn-ea"/>
              <a:cs typeface="+mn-cs"/>
            </a:endParaRPr>
          </a:p>
        </p:txBody>
      </p:sp>
      <p:sp>
        <p:nvSpPr>
          <p:cNvPr id="128" name="TextBox 127">
            <a:extLst>
              <a:ext uri="{FF2B5EF4-FFF2-40B4-BE49-F238E27FC236}">
                <a16:creationId xmlns:a16="http://schemas.microsoft.com/office/drawing/2014/main" id="{F27E1A1F-1E19-A36E-7B32-67618EB431D0}"/>
              </a:ext>
            </a:extLst>
          </p:cNvPr>
          <p:cNvSpPr txBox="1"/>
          <p:nvPr/>
        </p:nvSpPr>
        <p:spPr>
          <a:xfrm>
            <a:off x="7178961" y="2216876"/>
            <a:ext cx="1574221"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Neue Haas Grotesk Text Pro" panose="020B0504020202020204" pitchFamily="34" charset="77"/>
                <a:ea typeface="+mn-ea"/>
                <a:cs typeface="+mn-cs"/>
              </a:rPr>
              <a:t>Hitachi Managed</a:t>
            </a:r>
            <a:endParaRPr kumimoji="0" lang="es-ES" sz="1100" b="1" i="0" u="none" strike="noStrike" kern="1200" cap="none" spc="0" normalizeH="0" baseline="0" noProof="0" dirty="0" err="1">
              <a:ln>
                <a:noFill/>
              </a:ln>
              <a:solidFill>
                <a:sysClr val="windowText" lastClr="000000"/>
              </a:solidFill>
              <a:effectLst/>
              <a:uLnTx/>
              <a:uFillTx/>
              <a:latin typeface="Neue Haas Grotesk Text Pro" panose="020B0504020202020204" pitchFamily="34" charset="77"/>
              <a:ea typeface="+mn-ea"/>
              <a:cs typeface="+mn-cs"/>
            </a:endParaRPr>
          </a:p>
        </p:txBody>
      </p:sp>
    </p:spTree>
    <p:extLst>
      <p:ext uri="{BB962C8B-B14F-4D97-AF65-F5344CB8AC3E}">
        <p14:creationId xmlns:p14="http://schemas.microsoft.com/office/powerpoint/2010/main" val="186660905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dirty="0">
                <a:latin typeface="Neue Haas Grotesk Text Pro" panose="020B0504020202020204" pitchFamily="34" charset="0"/>
              </a:rPr>
              <a:t>Hitachi EverFlex Hybrid Cloud Advantage</a:t>
            </a:r>
            <a:br>
              <a:rPr lang="en-US" dirty="0">
                <a:latin typeface="Neue Haas Grotesk Text Pro" panose="020B0504020202020204" pitchFamily="34" charset="0"/>
              </a:rPr>
            </a:br>
            <a:r>
              <a:rPr lang="en-US" dirty="0">
                <a:latin typeface="Neue Haas Grotesk Text Pro" panose="020B0504020202020204" pitchFamily="34" charset="0"/>
              </a:rPr>
              <a:t>EverFlex Control</a:t>
            </a:r>
          </a:p>
        </p:txBody>
      </p:sp>
      <p:sp>
        <p:nvSpPr>
          <p:cNvPr id="143" name="object 11">
            <a:extLst>
              <a:ext uri="{FF2B5EF4-FFF2-40B4-BE49-F238E27FC236}">
                <a16:creationId xmlns:a16="http://schemas.microsoft.com/office/drawing/2014/main" id="{5B2F2839-F721-B331-6432-F1E6D217DB34}"/>
              </a:ext>
            </a:extLst>
          </p:cNvPr>
          <p:cNvSpPr/>
          <p:nvPr/>
        </p:nvSpPr>
        <p:spPr>
          <a:xfrm>
            <a:off x="190500" y="866140"/>
            <a:ext cx="3114675" cy="3881120"/>
          </a:xfrm>
          <a:custGeom>
            <a:avLst/>
            <a:gdLst/>
            <a:ahLst/>
            <a:cxnLst/>
            <a:rect l="l" t="t" r="r" b="b"/>
            <a:pathLst>
              <a:path w="2258695" h="2007235">
                <a:moveTo>
                  <a:pt x="2258567" y="0"/>
                </a:moveTo>
                <a:lnTo>
                  <a:pt x="0" y="0"/>
                </a:lnTo>
                <a:lnTo>
                  <a:pt x="0" y="1954377"/>
                </a:lnTo>
                <a:lnTo>
                  <a:pt x="4143" y="1974902"/>
                </a:lnTo>
                <a:lnTo>
                  <a:pt x="15444" y="1991663"/>
                </a:lnTo>
                <a:lnTo>
                  <a:pt x="32205" y="2002964"/>
                </a:lnTo>
                <a:lnTo>
                  <a:pt x="52730" y="2007107"/>
                </a:lnTo>
                <a:lnTo>
                  <a:pt x="2205850" y="2007107"/>
                </a:lnTo>
                <a:lnTo>
                  <a:pt x="2226367" y="2002964"/>
                </a:lnTo>
                <a:lnTo>
                  <a:pt x="2243124" y="1991663"/>
                </a:lnTo>
                <a:lnTo>
                  <a:pt x="2254424" y="1974902"/>
                </a:lnTo>
                <a:lnTo>
                  <a:pt x="2258567" y="1954377"/>
                </a:lnTo>
                <a:lnTo>
                  <a:pt x="2258567" y="0"/>
                </a:lnTo>
                <a:close/>
              </a:path>
            </a:pathLst>
          </a:custGeom>
          <a:solidFill>
            <a:srgbClr val="FFFFFF"/>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p:txBody>
      </p:sp>
      <p:pic>
        <p:nvPicPr>
          <p:cNvPr id="144" name="Picture 143">
            <a:extLst>
              <a:ext uri="{FF2B5EF4-FFF2-40B4-BE49-F238E27FC236}">
                <a16:creationId xmlns:a16="http://schemas.microsoft.com/office/drawing/2014/main" id="{2E34F63A-BD58-4374-5E15-E4B14265F7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0074" y="1191188"/>
            <a:ext cx="2995526" cy="3231024"/>
          </a:xfrm>
          <a:prstGeom prst="rect">
            <a:avLst/>
          </a:prstGeom>
        </p:spPr>
      </p:pic>
      <p:sp>
        <p:nvSpPr>
          <p:cNvPr id="145" name="Rectangle: Rounded Corners 144">
            <a:extLst>
              <a:ext uri="{FF2B5EF4-FFF2-40B4-BE49-F238E27FC236}">
                <a16:creationId xmlns:a16="http://schemas.microsoft.com/office/drawing/2014/main" id="{339AF49B-6CEB-8DD1-AA06-9BD2E286BF8A}"/>
              </a:ext>
            </a:extLst>
          </p:cNvPr>
          <p:cNvSpPr/>
          <p:nvPr/>
        </p:nvSpPr>
        <p:spPr>
          <a:xfrm>
            <a:off x="3434951" y="3215026"/>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Portability </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bility to move workloads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between private &amp; public clouds</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Workload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modeling, placement and optimization</a:t>
            </a:r>
          </a:p>
        </p:txBody>
      </p:sp>
      <p:sp>
        <p:nvSpPr>
          <p:cNvPr id="146" name="Rectangle: Rounded Corners 145">
            <a:extLst>
              <a:ext uri="{FF2B5EF4-FFF2-40B4-BE49-F238E27FC236}">
                <a16:creationId xmlns:a16="http://schemas.microsoft.com/office/drawing/2014/main" id="{37471322-674A-6AB8-5A87-78A2597208BC}"/>
              </a:ext>
            </a:extLst>
          </p:cNvPr>
          <p:cNvSpPr/>
          <p:nvPr/>
        </p:nvSpPr>
        <p:spPr>
          <a:xfrm>
            <a:off x="6229395" y="850830"/>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Elastic Pay Per Us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Billed on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true consumption</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Flex</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 up and Down</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Predictable and Managed</a:t>
            </a:r>
          </a:p>
        </p:txBody>
      </p:sp>
      <p:sp>
        <p:nvSpPr>
          <p:cNvPr id="147" name="Rectangle: Rounded Corners 146">
            <a:extLst>
              <a:ext uri="{FF2B5EF4-FFF2-40B4-BE49-F238E27FC236}">
                <a16:creationId xmlns:a16="http://schemas.microsoft.com/office/drawing/2014/main" id="{649F4D3C-E1A6-1C1C-6871-B8BF510D3C43}"/>
              </a:ext>
            </a:extLst>
          </p:cNvPr>
          <p:cNvSpPr/>
          <p:nvPr/>
        </p:nvSpPr>
        <p:spPr>
          <a:xfrm>
            <a:off x="3430850" y="1638896"/>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Self-Servic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Move, Add, Change &amp; Delet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Consolidated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reporting</a:t>
            </a:r>
          </a:p>
        </p:txBody>
      </p:sp>
      <p:sp>
        <p:nvSpPr>
          <p:cNvPr id="148" name="Rectangle: Rounded Corners 147">
            <a:extLst>
              <a:ext uri="{FF2B5EF4-FFF2-40B4-BE49-F238E27FC236}">
                <a16:creationId xmlns:a16="http://schemas.microsoft.com/office/drawing/2014/main" id="{910F4753-4C32-C3F7-215F-FC86051E6E57}"/>
              </a:ext>
            </a:extLst>
          </p:cNvPr>
          <p:cNvSpPr/>
          <p:nvPr/>
        </p:nvSpPr>
        <p:spPr>
          <a:xfrm>
            <a:off x="6229395" y="1638896"/>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114300" marR="0" lvl="0" indent="-114300" algn="l" defTabSz="914400" rtl="0" eaLnBrk="1" fontAlgn="auto" latinLnBrk="0" hangingPunct="1">
              <a:lnSpc>
                <a:spcPct val="100000"/>
              </a:lnSpc>
              <a:spcBef>
                <a:spcPts val="0"/>
              </a:spcBef>
              <a:spcAft>
                <a:spcPts val="0"/>
              </a:spcAft>
              <a:buClr>
                <a:srgbClr val="CC0000"/>
              </a:buClr>
              <a:buSzTx/>
              <a:buFontTx/>
              <a:buNone/>
              <a:tabLst/>
              <a:defRPr/>
            </a:pPr>
            <a:r>
              <a:rPr kumimoji="0" lang="en-US" sz="900" b="1" i="0" u="none" strike="noStrike" kern="1200" cap="none" spc="0" normalizeH="0" baseline="0" noProof="0">
                <a:ln>
                  <a:noFill/>
                </a:ln>
                <a:solidFill>
                  <a:srgbClr val="CC0000"/>
                </a:solidFill>
                <a:effectLst/>
                <a:uLnTx/>
                <a:uFillTx/>
                <a:latin typeface="Neue Haas Grotesk Text Pro" panose="020B0504020202020204" pitchFamily="34" charset="0"/>
                <a:ea typeface="+mn-ea"/>
                <a:cs typeface="+mn-cs"/>
              </a:rPr>
              <a:t>End to End Automation &amp; Orchestration</a:t>
            </a:r>
          </a:p>
          <a:p>
            <a:pPr marL="114300" marR="0" lvl="0" indent="-114300" algn="l" defTabSz="914400" rtl="0" eaLnBrk="1" fontAlgn="auto" latinLnBrk="0" hangingPunct="1">
              <a:lnSpc>
                <a:spcPct val="100000"/>
              </a:lnSpc>
              <a:spcBef>
                <a:spcPts val="0"/>
              </a:spcBef>
              <a:spcAft>
                <a:spcPts val="0"/>
              </a:spcAft>
              <a:buClr>
                <a:srgbClr val="CC0000"/>
              </a:buClr>
              <a:buSzTx/>
              <a:buFont typeface="Arial" panose="020B0604020202020204" pitchFamily="34" charset="0"/>
              <a:buChar char="•"/>
              <a:tabLst/>
              <a:defRPr/>
            </a:pPr>
            <a:r>
              <a:rPr kumimoji="0" lang="en-US" sz="9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Business process integrated</a:t>
            </a:r>
          </a:p>
          <a:p>
            <a:pPr marL="114300" marR="0" lvl="0" indent="-114300" algn="l" defTabSz="914400" rtl="0" eaLnBrk="1" fontAlgn="auto" latinLnBrk="0" hangingPunct="1">
              <a:lnSpc>
                <a:spcPct val="100000"/>
              </a:lnSpc>
              <a:spcBef>
                <a:spcPts val="0"/>
              </a:spcBef>
              <a:spcAft>
                <a:spcPts val="0"/>
              </a:spcAft>
              <a:buClr>
                <a:srgbClr val="CC0000"/>
              </a:buClr>
              <a:buSzTx/>
              <a:buFont typeface="Arial" panose="020B0604020202020204" pitchFamily="34" charset="0"/>
              <a:buChar char="•"/>
              <a:tabLst/>
              <a:defRPr/>
            </a:pPr>
            <a:r>
              <a:rPr kumimoji="0" lang="en-US" sz="9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Workflow integrated configurations</a:t>
            </a:r>
          </a:p>
          <a:p>
            <a:pPr marL="114300" marR="0" lvl="0" indent="-114300" algn="l" defTabSz="914400" rtl="0" eaLnBrk="1" fontAlgn="auto" latinLnBrk="0" hangingPunct="1">
              <a:lnSpc>
                <a:spcPct val="100000"/>
              </a:lnSpc>
              <a:spcBef>
                <a:spcPts val="0"/>
              </a:spcBef>
              <a:spcAft>
                <a:spcPts val="0"/>
              </a:spcAft>
              <a:buClr>
                <a:srgbClr val="CC0000"/>
              </a:buClr>
              <a:buSzTx/>
              <a:buFont typeface="Arial" panose="020B0604020202020204" pitchFamily="34" charset="0"/>
              <a:buChar char="•"/>
              <a:tabLst/>
              <a:defRPr/>
            </a:pPr>
            <a:r>
              <a:rPr kumimoji="0" lang="en-US" sz="9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Guardrails on spend and configurations</a:t>
            </a:r>
          </a:p>
          <a:p>
            <a:pPr marL="114300" marR="0" lvl="0" indent="-114300" algn="l" defTabSz="914400" rtl="0" eaLnBrk="1" fontAlgn="auto" latinLnBrk="0" hangingPunct="1">
              <a:lnSpc>
                <a:spcPct val="100000"/>
              </a:lnSpc>
              <a:spcBef>
                <a:spcPts val="0"/>
              </a:spcBef>
              <a:spcAft>
                <a:spcPts val="0"/>
              </a:spcAft>
              <a:buClr>
                <a:srgbClr val="CC0000"/>
              </a:buClr>
              <a:buSzTx/>
              <a:buFont typeface="Arial" panose="020B0604020202020204" pitchFamily="34" charset="0"/>
              <a:buChar char="•"/>
              <a:tabLst/>
              <a:defRPr/>
            </a:pPr>
            <a:r>
              <a:rPr kumimoji="0" lang="en-US" sz="9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ITSM/ITOM Integrated</a:t>
            </a:r>
          </a:p>
        </p:txBody>
      </p:sp>
      <p:sp>
        <p:nvSpPr>
          <p:cNvPr id="149" name="Rectangle: Rounded Corners 148">
            <a:extLst>
              <a:ext uri="{FF2B5EF4-FFF2-40B4-BE49-F238E27FC236}">
                <a16:creationId xmlns:a16="http://schemas.microsoft.com/office/drawing/2014/main" id="{66AE3C7D-27C3-75BE-F5FD-0AD23E71783E}"/>
              </a:ext>
            </a:extLst>
          </p:cNvPr>
          <p:cNvSpPr/>
          <p:nvPr/>
        </p:nvSpPr>
        <p:spPr>
          <a:xfrm>
            <a:off x="3430850" y="2426961"/>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Secur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Persona based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CL</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Not publicly accessibl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Resilience and highly available</a:t>
            </a:r>
          </a:p>
        </p:txBody>
      </p:sp>
      <p:sp>
        <p:nvSpPr>
          <p:cNvPr id="150" name="Rectangle: Rounded Corners 149">
            <a:extLst>
              <a:ext uri="{FF2B5EF4-FFF2-40B4-BE49-F238E27FC236}">
                <a16:creationId xmlns:a16="http://schemas.microsoft.com/office/drawing/2014/main" id="{5637780F-A29F-0333-EB55-E0BF85ECE269}"/>
              </a:ext>
            </a:extLst>
          </p:cNvPr>
          <p:cNvSpPr/>
          <p:nvPr/>
        </p:nvSpPr>
        <p:spPr>
          <a:xfrm>
            <a:off x="6229395" y="2426961"/>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Agile &amp; Reliabl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Quickly configure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based on requirements</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Stable and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ready for us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Predefined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Enterprise Architecture</a:t>
            </a:r>
          </a:p>
        </p:txBody>
      </p:sp>
      <p:sp>
        <p:nvSpPr>
          <p:cNvPr id="151" name="Rectangle: Rounded Corners 150">
            <a:extLst>
              <a:ext uri="{FF2B5EF4-FFF2-40B4-BE49-F238E27FC236}">
                <a16:creationId xmlns:a16="http://schemas.microsoft.com/office/drawing/2014/main" id="{01161D4E-2C8A-AC93-6B97-2F5FEA05C9BC}"/>
              </a:ext>
            </a:extLst>
          </p:cNvPr>
          <p:cNvSpPr/>
          <p:nvPr/>
        </p:nvSpPr>
        <p:spPr>
          <a:xfrm>
            <a:off x="3430850" y="848204"/>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Centralized Control &amp; Cloud Experienc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Heterogeneous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IOps Tools</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PI-centric</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 Control and Data Plane</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lert Reduction &amp; Correlation</a:t>
            </a:r>
            <a:endPar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endParaRPr>
          </a:p>
        </p:txBody>
      </p:sp>
      <p:sp>
        <p:nvSpPr>
          <p:cNvPr id="152" name="Rectangle: Rounded Corners 151">
            <a:extLst>
              <a:ext uri="{FF2B5EF4-FFF2-40B4-BE49-F238E27FC236}">
                <a16:creationId xmlns:a16="http://schemas.microsoft.com/office/drawing/2014/main" id="{3186124F-2E3B-E259-9495-E6782E3A18A7}"/>
              </a:ext>
            </a:extLst>
          </p:cNvPr>
          <p:cNvSpPr/>
          <p:nvPr/>
        </p:nvSpPr>
        <p:spPr>
          <a:xfrm>
            <a:off x="6229395" y="3215027"/>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Continuous Improvement</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Constantly enhanced </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nd expanded services</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IT Infrastructure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Innovation</a:t>
            </a:r>
          </a:p>
        </p:txBody>
      </p:sp>
      <p:sp>
        <p:nvSpPr>
          <p:cNvPr id="153" name="Rectangle: Rounded Corners 152">
            <a:extLst>
              <a:ext uri="{FF2B5EF4-FFF2-40B4-BE49-F238E27FC236}">
                <a16:creationId xmlns:a16="http://schemas.microsoft.com/office/drawing/2014/main" id="{DBFBED41-A720-075E-BDFA-A90C5C7448BB}"/>
              </a:ext>
            </a:extLst>
          </p:cNvPr>
          <p:cNvSpPr/>
          <p:nvPr/>
        </p:nvSpPr>
        <p:spPr>
          <a:xfrm>
            <a:off x="3430850" y="4003092"/>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Low-Risk Services Portfolio</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Service Catalog &amp; Application blueprints</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Ecosystem of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Integrated ISV Architectures </a:t>
            </a:r>
            <a:b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b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and </a:t>
            </a: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Solutions </a:t>
            </a:r>
          </a:p>
        </p:txBody>
      </p:sp>
      <p:sp>
        <p:nvSpPr>
          <p:cNvPr id="154" name="Rectangle: Rounded Corners 153">
            <a:extLst>
              <a:ext uri="{FF2B5EF4-FFF2-40B4-BE49-F238E27FC236}">
                <a16:creationId xmlns:a16="http://schemas.microsoft.com/office/drawing/2014/main" id="{6CF21AAF-63EF-39AA-6590-2D6C9308D9B9}"/>
              </a:ext>
            </a:extLst>
          </p:cNvPr>
          <p:cNvSpPr/>
          <p:nvPr/>
        </p:nvSpPr>
        <p:spPr>
          <a:xfrm>
            <a:off x="6229395" y="4003092"/>
            <a:ext cx="2672870" cy="744168"/>
          </a:xfrm>
          <a:prstGeom prst="roundRect">
            <a:avLst>
              <a:gd name="adj" fmla="val 2299"/>
            </a:avLst>
          </a:prstGeom>
          <a:solidFill>
            <a:srgbClr val="FFFFFF"/>
          </a:solidFill>
          <a:effectLst>
            <a:outerShdw blurRad="63500" sx="101000" sy="101000" algn="ctr" rotWithShape="0">
              <a:schemeClr val="accent2">
                <a:alpha val="20000"/>
              </a:schemeClr>
            </a:outerShdw>
          </a:effectLst>
        </p:spPr>
        <p:txBody>
          <a:bodyPr wrap="square" lIns="27432" tIns="27432" rIns="27432" bIns="27432" rtlCol="0"/>
          <a:lstStyle/>
          <a:p>
            <a:pPr marL="0" marR="0" lvl="0" indent="0" algn="l" defTabSz="685800" rtl="0" eaLnBrk="1" fontAlgn="auto" latinLnBrk="0" hangingPunct="1">
              <a:lnSpc>
                <a:spcPct val="100000"/>
              </a:lnSpc>
              <a:spcBef>
                <a:spcPts val="0"/>
              </a:spcBef>
              <a:spcAft>
                <a:spcPts val="0"/>
              </a:spcAft>
              <a:buClr>
                <a:srgbClr val="C00000"/>
              </a:buClr>
              <a:buSzPct val="100000"/>
              <a:buFontTx/>
              <a:buNone/>
              <a:tabLst/>
              <a:defRPr/>
            </a:pPr>
            <a:r>
              <a:rPr kumimoji="0" lang="en-US" sz="900" b="1" i="0" u="none" strike="noStrike" kern="0" cap="none" spc="0" normalizeH="0" baseline="0" noProof="0">
                <a:ln>
                  <a:noFill/>
                </a:ln>
                <a:solidFill>
                  <a:srgbClr val="CC0000"/>
                </a:solidFill>
                <a:effectLst/>
                <a:uLnTx/>
                <a:uFillTx/>
                <a:latin typeface="Neue Haas Grotesk Text Pro" panose="020B0504020202020204" pitchFamily="34" charset="77"/>
                <a:ea typeface="Open Sans"/>
                <a:cs typeface="Open Sans"/>
                <a:sym typeface="Open Sans"/>
              </a:rPr>
              <a:t>SLA Backed</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Worry free experience </a:t>
            </a:r>
          </a:p>
          <a:p>
            <a:pPr marL="171450" marR="0" lvl="0" indent="-171450" algn="l" defTabSz="685800" rtl="0" eaLnBrk="1" fontAlgn="auto" latinLnBrk="0" hangingPunct="1">
              <a:lnSpc>
                <a:spcPct val="100000"/>
              </a:lnSpc>
              <a:spcBef>
                <a:spcPts val="0"/>
              </a:spcBef>
              <a:spcAft>
                <a:spcPts val="0"/>
              </a:spcAft>
              <a:buClr>
                <a:srgbClr val="C00000"/>
              </a:buClr>
              <a:buSzPct val="100000"/>
              <a:buFont typeface="Arial" panose="020B0604020202020204" pitchFamily="34" charset="0"/>
              <a:buChar char="•"/>
              <a:tabLst/>
              <a:defRPr/>
            </a:pPr>
            <a:r>
              <a:rPr kumimoji="0" lang="en-US" sz="900" b="1"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Contractual</a:t>
            </a:r>
            <a:r>
              <a:rPr kumimoji="0" lang="en-US" sz="900" b="0" i="0" u="none" strike="noStrike" kern="0" cap="none" spc="0" normalizeH="0" baseline="0" noProof="0">
                <a:ln>
                  <a:noFill/>
                </a:ln>
                <a:solidFill>
                  <a:srgbClr val="3F3F3F"/>
                </a:solidFill>
                <a:effectLst/>
                <a:uLnTx/>
                <a:uFillTx/>
                <a:latin typeface="Neue Haas Grotesk Text Pro" panose="020B0504020202020204" pitchFamily="34" charset="77"/>
                <a:ea typeface="Open Sans"/>
                <a:cs typeface="Open Sans"/>
                <a:sym typeface="Open Sans"/>
              </a:rPr>
              <a:t> platform expectations</a:t>
            </a:r>
          </a:p>
        </p:txBody>
      </p:sp>
      <p:pic>
        <p:nvPicPr>
          <p:cNvPr id="155" name="Graphic 154">
            <a:extLst>
              <a:ext uri="{FF2B5EF4-FFF2-40B4-BE49-F238E27FC236}">
                <a16:creationId xmlns:a16="http://schemas.microsoft.com/office/drawing/2014/main" id="{5A6DA6F2-ACED-BB8F-4415-F962A5CB21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21031" y="1311902"/>
            <a:ext cx="244335" cy="244335"/>
          </a:xfrm>
          <a:prstGeom prst="rect">
            <a:avLst/>
          </a:prstGeom>
        </p:spPr>
      </p:pic>
      <p:pic>
        <p:nvPicPr>
          <p:cNvPr id="156" name="Graphic 155">
            <a:extLst>
              <a:ext uri="{FF2B5EF4-FFF2-40B4-BE49-F238E27FC236}">
                <a16:creationId xmlns:a16="http://schemas.microsoft.com/office/drawing/2014/main" id="{48ABBE3B-6F75-30B3-C932-AB354DC398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15084" y="2098929"/>
            <a:ext cx="243840" cy="243840"/>
          </a:xfrm>
          <a:prstGeom prst="rect">
            <a:avLst/>
          </a:prstGeom>
        </p:spPr>
      </p:pic>
      <p:pic>
        <p:nvPicPr>
          <p:cNvPr id="157" name="Graphic 156">
            <a:extLst>
              <a:ext uri="{FF2B5EF4-FFF2-40B4-BE49-F238E27FC236}">
                <a16:creationId xmlns:a16="http://schemas.microsoft.com/office/drawing/2014/main" id="{F9954639-E56D-A3B8-45BE-72CA434475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28696" y="2896105"/>
            <a:ext cx="246888" cy="246888"/>
          </a:xfrm>
          <a:prstGeom prst="rect">
            <a:avLst/>
          </a:prstGeom>
        </p:spPr>
      </p:pic>
      <p:pic>
        <p:nvPicPr>
          <p:cNvPr id="158" name="Graphic 157">
            <a:extLst>
              <a:ext uri="{FF2B5EF4-FFF2-40B4-BE49-F238E27FC236}">
                <a16:creationId xmlns:a16="http://schemas.microsoft.com/office/drawing/2014/main" id="{A3DCCE88-F364-1FE3-7B0C-71AA2FB8294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28696" y="3684171"/>
            <a:ext cx="246888" cy="246888"/>
          </a:xfrm>
          <a:prstGeom prst="rect">
            <a:avLst/>
          </a:prstGeom>
        </p:spPr>
      </p:pic>
      <p:pic>
        <p:nvPicPr>
          <p:cNvPr id="159" name="Graphic 158">
            <a:extLst>
              <a:ext uri="{FF2B5EF4-FFF2-40B4-BE49-F238E27FC236}">
                <a16:creationId xmlns:a16="http://schemas.microsoft.com/office/drawing/2014/main" id="{0E97C6EA-E470-B18E-AF7B-AEAE33BE06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28696" y="4472236"/>
            <a:ext cx="246888" cy="246888"/>
          </a:xfrm>
          <a:prstGeom prst="rect">
            <a:avLst/>
          </a:prstGeom>
        </p:spPr>
      </p:pic>
      <p:pic>
        <p:nvPicPr>
          <p:cNvPr id="160" name="Graphic 159">
            <a:extLst>
              <a:ext uri="{FF2B5EF4-FFF2-40B4-BE49-F238E27FC236}">
                <a16:creationId xmlns:a16="http://schemas.microsoft.com/office/drawing/2014/main" id="{E178FE16-7C0C-A5CC-4B0B-A370FE08A6B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620207" y="1319974"/>
            <a:ext cx="246888" cy="246888"/>
          </a:xfrm>
          <a:prstGeom prst="rect">
            <a:avLst/>
          </a:prstGeom>
        </p:spPr>
      </p:pic>
      <p:pic>
        <p:nvPicPr>
          <p:cNvPr id="161" name="Graphic 160">
            <a:extLst>
              <a:ext uri="{FF2B5EF4-FFF2-40B4-BE49-F238E27FC236}">
                <a16:creationId xmlns:a16="http://schemas.microsoft.com/office/drawing/2014/main" id="{A11480FF-5E8F-7A4F-8935-705D05BC0F9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620207" y="2101006"/>
            <a:ext cx="246888" cy="246888"/>
          </a:xfrm>
          <a:prstGeom prst="rect">
            <a:avLst/>
          </a:prstGeom>
        </p:spPr>
      </p:pic>
      <p:pic>
        <p:nvPicPr>
          <p:cNvPr id="162" name="Graphic 161">
            <a:extLst>
              <a:ext uri="{FF2B5EF4-FFF2-40B4-BE49-F238E27FC236}">
                <a16:creationId xmlns:a16="http://schemas.microsoft.com/office/drawing/2014/main" id="{C4CAE161-10A4-643A-D5B9-261A24936B6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20207" y="2889071"/>
            <a:ext cx="246888" cy="246888"/>
          </a:xfrm>
          <a:prstGeom prst="rect">
            <a:avLst/>
          </a:prstGeom>
        </p:spPr>
      </p:pic>
      <p:pic>
        <p:nvPicPr>
          <p:cNvPr id="163" name="Graphic 162">
            <a:extLst>
              <a:ext uri="{FF2B5EF4-FFF2-40B4-BE49-F238E27FC236}">
                <a16:creationId xmlns:a16="http://schemas.microsoft.com/office/drawing/2014/main" id="{2E83C21E-CC53-B6C8-2943-C84B1038788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620207" y="3677137"/>
            <a:ext cx="246888" cy="246888"/>
          </a:xfrm>
          <a:prstGeom prst="rect">
            <a:avLst/>
          </a:prstGeom>
        </p:spPr>
      </p:pic>
      <p:pic>
        <p:nvPicPr>
          <p:cNvPr id="164" name="Graphic 163">
            <a:extLst>
              <a:ext uri="{FF2B5EF4-FFF2-40B4-BE49-F238E27FC236}">
                <a16:creationId xmlns:a16="http://schemas.microsoft.com/office/drawing/2014/main" id="{792A1826-9183-6A77-A0E7-15A7B6AEA1C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620207" y="4458168"/>
            <a:ext cx="246888" cy="246888"/>
          </a:xfrm>
          <a:prstGeom prst="rect">
            <a:avLst/>
          </a:prstGeom>
        </p:spPr>
      </p:pic>
    </p:spTree>
    <p:extLst>
      <p:ext uri="{BB962C8B-B14F-4D97-AF65-F5344CB8AC3E}">
        <p14:creationId xmlns:p14="http://schemas.microsoft.com/office/powerpoint/2010/main" val="17039717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36FFB-D7C5-54CC-217F-6E8847DE0C80}"/>
              </a:ext>
            </a:extLst>
          </p:cNvPr>
          <p:cNvSpPr>
            <a:spLocks noGrp="1"/>
          </p:cNvSpPr>
          <p:nvPr>
            <p:ph type="title"/>
          </p:nvPr>
        </p:nvSpPr>
        <p:spPr>
          <a:xfrm>
            <a:off x="202687" y="53113"/>
            <a:ext cx="8737013" cy="732441"/>
          </a:xfrm>
        </p:spPr>
        <p:txBody>
          <a:bodyPr vert="horz" wrap="square" lIns="0" tIns="0" rIns="0" bIns="0"/>
          <a:lstStyle/>
          <a:p>
            <a:r>
              <a:rPr lang="en-US">
                <a:latin typeface="Neue Haas Grotesk Text Pro" panose="020B0504020202020204" pitchFamily="34" charset="0"/>
              </a:rPr>
              <a:t>Hitachi </a:t>
            </a:r>
            <a:r>
              <a:rPr lang="en-US" err="1">
                <a:latin typeface="Neue Haas Grotesk Text Pro" panose="020B0504020202020204" pitchFamily="34" charset="0"/>
              </a:rPr>
              <a:t>EverFlex</a:t>
            </a:r>
            <a:r>
              <a:rPr lang="en-US">
                <a:latin typeface="Neue Haas Grotesk Text Pro" panose="020B0504020202020204" pitchFamily="34" charset="0"/>
              </a:rPr>
              <a:t> with Cisco Powered Hybrid Cloud</a:t>
            </a:r>
            <a:br>
              <a:rPr lang="en-US">
                <a:latin typeface="Neue Haas Grotesk Text Pro" panose="020B0504020202020204" pitchFamily="34" charset="0"/>
              </a:rPr>
            </a:br>
            <a:r>
              <a:rPr lang="en-US" sz="1800" b="0">
                <a:latin typeface="Neue Haas Grotesk Text Pro" panose="020B0504020202020204" pitchFamily="34" charset="0"/>
              </a:rPr>
              <a:t>featuring </a:t>
            </a:r>
            <a:r>
              <a:rPr lang="en-US" sz="1800" b="0" err="1">
                <a:latin typeface="Neue Haas Grotesk Text Pro" panose="020B0504020202020204" pitchFamily="34" charset="0"/>
              </a:rPr>
              <a:t>EverFlex</a:t>
            </a:r>
            <a:r>
              <a:rPr lang="en-US" sz="1800" b="0">
                <a:latin typeface="Neue Haas Grotesk Text Pro" panose="020B0504020202020204" pitchFamily="34" charset="0"/>
              </a:rPr>
              <a:t> Control</a:t>
            </a:r>
            <a:endParaRPr lang="en-US" b="0">
              <a:latin typeface="Neue Haas Grotesk Text Pro" panose="020B0504020202020204" pitchFamily="34" charset="0"/>
            </a:endParaRPr>
          </a:p>
        </p:txBody>
      </p:sp>
      <p:sp>
        <p:nvSpPr>
          <p:cNvPr id="7" name="Freeform: Shape 6">
            <a:extLst>
              <a:ext uri="{FF2B5EF4-FFF2-40B4-BE49-F238E27FC236}">
                <a16:creationId xmlns:a16="http://schemas.microsoft.com/office/drawing/2014/main" id="{6953D5A6-4466-8A34-4BA6-413DB0FD2CC8}"/>
              </a:ext>
            </a:extLst>
          </p:cNvPr>
          <p:cNvSpPr/>
          <p:nvPr/>
        </p:nvSpPr>
        <p:spPr>
          <a:xfrm flipH="1">
            <a:off x="2120132"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8" name="Freeform: Shape 7">
            <a:extLst>
              <a:ext uri="{FF2B5EF4-FFF2-40B4-BE49-F238E27FC236}">
                <a16:creationId xmlns:a16="http://schemas.microsoft.com/office/drawing/2014/main" id="{852094DC-EF1E-B128-30DC-0C29DE3DB9EC}"/>
              </a:ext>
            </a:extLst>
          </p:cNvPr>
          <p:cNvSpPr/>
          <p:nvPr/>
        </p:nvSpPr>
        <p:spPr>
          <a:xfrm>
            <a:off x="206066"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9" name="Shape0_20240305_052520">
            <a:extLst>
              <a:ext uri="{FF2B5EF4-FFF2-40B4-BE49-F238E27FC236}">
                <a16:creationId xmlns:a16="http://schemas.microsoft.com/office/drawing/2014/main" id="{9AD9AF17-8EAA-1103-D82B-C8E177A97A57}"/>
              </a:ext>
            </a:extLst>
          </p:cNvPr>
          <p:cNvSpPr/>
          <p:nvPr/>
        </p:nvSpPr>
        <p:spPr>
          <a:xfrm>
            <a:off x="257589" y="915475"/>
            <a:ext cx="1926055" cy="3690147"/>
          </a:xfrm>
          <a:prstGeom prst="roundRect">
            <a:avLst>
              <a:gd name="adj" fmla="val 2410"/>
            </a:avLst>
          </a:pr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22222"/>
              </a:solidFill>
              <a:effectLst/>
              <a:uLnTx/>
              <a:uFillTx/>
              <a:latin typeface="Neue Haas Grotesk Text Pro" panose="020B0504020202020204" pitchFamily="34" charset="0"/>
              <a:ea typeface="+mn-ea"/>
              <a:cs typeface="+mn-cs"/>
            </a:endParaRPr>
          </a:p>
        </p:txBody>
      </p:sp>
      <p:sp>
        <p:nvSpPr>
          <p:cNvPr id="10" name="Rectangle: Top Corners Rounded 9">
            <a:extLst>
              <a:ext uri="{FF2B5EF4-FFF2-40B4-BE49-F238E27FC236}">
                <a16:creationId xmlns:a16="http://schemas.microsoft.com/office/drawing/2014/main" id="{D6050239-E010-D1DA-9F4D-C968303E891C}"/>
              </a:ext>
            </a:extLst>
          </p:cNvPr>
          <p:cNvSpPr/>
          <p:nvPr/>
        </p:nvSpPr>
        <p:spPr>
          <a:xfrm>
            <a:off x="203201" y="915476"/>
            <a:ext cx="2034832" cy="397842"/>
          </a:xfrm>
          <a:prstGeom prst="round2SameRect">
            <a:avLst>
              <a:gd name="adj1" fmla="val 166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11" name="TextBox 10">
            <a:extLst>
              <a:ext uri="{FF2B5EF4-FFF2-40B4-BE49-F238E27FC236}">
                <a16:creationId xmlns:a16="http://schemas.microsoft.com/office/drawing/2014/main" id="{595F7AB3-B885-AFF8-8CB2-91E79FD3FC89}"/>
              </a:ext>
            </a:extLst>
          </p:cNvPr>
          <p:cNvSpPr txBox="1"/>
          <p:nvPr/>
        </p:nvSpPr>
        <p:spPr>
          <a:xfrm>
            <a:off x="324630" y="1022064"/>
            <a:ext cx="1179009" cy="184666"/>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Automation</a:t>
            </a:r>
          </a:p>
        </p:txBody>
      </p:sp>
      <p:sp>
        <p:nvSpPr>
          <p:cNvPr id="12" name="Freeform: Shape 11">
            <a:extLst>
              <a:ext uri="{FF2B5EF4-FFF2-40B4-BE49-F238E27FC236}">
                <a16:creationId xmlns:a16="http://schemas.microsoft.com/office/drawing/2014/main" id="{152BDCB8-02C3-8F8A-864B-A329B17072C9}"/>
              </a:ext>
            </a:extLst>
          </p:cNvPr>
          <p:cNvSpPr/>
          <p:nvPr/>
        </p:nvSpPr>
        <p:spPr>
          <a:xfrm>
            <a:off x="770064" y="4540785"/>
            <a:ext cx="901104" cy="64838"/>
          </a:xfrm>
          <a:custGeom>
            <a:avLst/>
            <a:gdLst>
              <a:gd name="connsiteX0" fmla="*/ 208521 w 1802437"/>
              <a:gd name="connsiteY0" fmla="*/ 0 h 135291"/>
              <a:gd name="connsiteX1" fmla="*/ 390198 w 1802437"/>
              <a:gd name="connsiteY1" fmla="*/ 0 h 135291"/>
              <a:gd name="connsiteX2" fmla="*/ 1412239 w 1802437"/>
              <a:gd name="connsiteY2" fmla="*/ 0 h 135291"/>
              <a:gd name="connsiteX3" fmla="*/ 1593916 w 1802437"/>
              <a:gd name="connsiteY3" fmla="*/ 0 h 135291"/>
              <a:gd name="connsiteX4" fmla="*/ 1796312 w 1802437"/>
              <a:gd name="connsiteY4" fmla="*/ 117249 h 135291"/>
              <a:gd name="connsiteX5" fmla="*/ 1802437 w 1802437"/>
              <a:gd name="connsiteY5" fmla="*/ 135291 h 135291"/>
              <a:gd name="connsiteX6" fmla="*/ 0 w 1802437"/>
              <a:gd name="connsiteY6" fmla="*/ 135291 h 135291"/>
              <a:gd name="connsiteX7" fmla="*/ 6125 w 1802437"/>
              <a:gd name="connsiteY7" fmla="*/ 117249 h 135291"/>
              <a:gd name="connsiteX8" fmla="*/ 208521 w 1802437"/>
              <a:gd name="connsiteY8" fmla="*/ 0 h 13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437" h="135291">
                <a:moveTo>
                  <a:pt x="208521" y="0"/>
                </a:moveTo>
                <a:lnTo>
                  <a:pt x="390198" y="0"/>
                </a:lnTo>
                <a:lnTo>
                  <a:pt x="1412239" y="0"/>
                </a:lnTo>
                <a:lnTo>
                  <a:pt x="1593916" y="0"/>
                </a:lnTo>
                <a:cubicBezTo>
                  <a:pt x="1789524" y="2381"/>
                  <a:pt x="1749466" y="2488"/>
                  <a:pt x="1796312" y="117249"/>
                </a:cubicBezTo>
                <a:lnTo>
                  <a:pt x="1802437" y="135291"/>
                </a:lnTo>
                <a:lnTo>
                  <a:pt x="0" y="135291"/>
                </a:lnTo>
                <a:lnTo>
                  <a:pt x="6125" y="117249"/>
                </a:lnTo>
                <a:cubicBezTo>
                  <a:pt x="41643" y="19157"/>
                  <a:pt x="21976" y="2380"/>
                  <a:pt x="208521" y="0"/>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pic>
        <p:nvPicPr>
          <p:cNvPr id="13" name="Graphic 12">
            <a:extLst>
              <a:ext uri="{FF2B5EF4-FFF2-40B4-BE49-F238E27FC236}">
                <a16:creationId xmlns:a16="http://schemas.microsoft.com/office/drawing/2014/main" id="{2516AEEA-7058-AEA8-F704-22546C4E3F9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64312" y="974656"/>
            <a:ext cx="279483" cy="279483"/>
          </a:xfrm>
          <a:prstGeom prst="rect">
            <a:avLst/>
          </a:prstGeom>
        </p:spPr>
      </p:pic>
      <p:sp>
        <p:nvSpPr>
          <p:cNvPr id="14" name="TextBox 13">
            <a:extLst>
              <a:ext uri="{FF2B5EF4-FFF2-40B4-BE49-F238E27FC236}">
                <a16:creationId xmlns:a16="http://schemas.microsoft.com/office/drawing/2014/main" id="{E688A76A-699B-D66C-E935-DF2CCC666EAD}"/>
              </a:ext>
            </a:extLst>
          </p:cNvPr>
          <p:cNvSpPr txBox="1"/>
          <p:nvPr/>
        </p:nvSpPr>
        <p:spPr>
          <a:xfrm>
            <a:off x="361355" y="1392849"/>
            <a:ext cx="1718522" cy="2503249"/>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Unified Portal</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eterogeneou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Self-Service</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Provisioning</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Business Processe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Observability</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lert Reduction</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lert Correlation</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Self-Healing</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FinOp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Application Portability</a:t>
            </a:r>
          </a:p>
        </p:txBody>
      </p:sp>
      <p:sp>
        <p:nvSpPr>
          <p:cNvPr id="15" name="Freeform: Shape 14">
            <a:extLst>
              <a:ext uri="{FF2B5EF4-FFF2-40B4-BE49-F238E27FC236}">
                <a16:creationId xmlns:a16="http://schemas.microsoft.com/office/drawing/2014/main" id="{AEFA50FB-1065-69E0-C1BA-B4E133B1CF10}"/>
              </a:ext>
            </a:extLst>
          </p:cNvPr>
          <p:cNvSpPr/>
          <p:nvPr/>
        </p:nvSpPr>
        <p:spPr>
          <a:xfrm flipH="1">
            <a:off x="4207041"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16" name="Freeform: Shape 15">
            <a:extLst>
              <a:ext uri="{FF2B5EF4-FFF2-40B4-BE49-F238E27FC236}">
                <a16:creationId xmlns:a16="http://schemas.microsoft.com/office/drawing/2014/main" id="{1D84A153-9154-F175-8CCE-946848044B91}"/>
              </a:ext>
            </a:extLst>
          </p:cNvPr>
          <p:cNvSpPr/>
          <p:nvPr/>
        </p:nvSpPr>
        <p:spPr>
          <a:xfrm>
            <a:off x="2292975"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17" name="Shape1_20240305_052520">
            <a:extLst>
              <a:ext uri="{FF2B5EF4-FFF2-40B4-BE49-F238E27FC236}">
                <a16:creationId xmlns:a16="http://schemas.microsoft.com/office/drawing/2014/main" id="{647CF260-F267-D970-2558-40491E182D31}"/>
              </a:ext>
            </a:extLst>
          </p:cNvPr>
          <p:cNvSpPr/>
          <p:nvPr/>
        </p:nvSpPr>
        <p:spPr>
          <a:xfrm>
            <a:off x="2344498" y="915475"/>
            <a:ext cx="1926055" cy="3690147"/>
          </a:xfrm>
          <a:prstGeom prst="roundRect">
            <a:avLst>
              <a:gd name="adj" fmla="val 2410"/>
            </a:avLst>
          </a:pr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22222"/>
              </a:solidFill>
              <a:effectLst/>
              <a:uLnTx/>
              <a:uFillTx/>
              <a:latin typeface="Neue Haas Grotesk Text Pro" panose="020B0504020202020204" pitchFamily="34" charset="0"/>
              <a:ea typeface="+mn-ea"/>
              <a:cs typeface="+mn-cs"/>
            </a:endParaRPr>
          </a:p>
        </p:txBody>
      </p:sp>
      <p:sp>
        <p:nvSpPr>
          <p:cNvPr id="18" name="Rectangle: Top Corners Rounded 17">
            <a:extLst>
              <a:ext uri="{FF2B5EF4-FFF2-40B4-BE49-F238E27FC236}">
                <a16:creationId xmlns:a16="http://schemas.microsoft.com/office/drawing/2014/main" id="{32448FC6-46DD-3218-0159-98B1AB3B8CD5}"/>
              </a:ext>
            </a:extLst>
          </p:cNvPr>
          <p:cNvSpPr/>
          <p:nvPr/>
        </p:nvSpPr>
        <p:spPr>
          <a:xfrm>
            <a:off x="2290110" y="915476"/>
            <a:ext cx="2034832" cy="397842"/>
          </a:xfrm>
          <a:prstGeom prst="round2SameRect">
            <a:avLst>
              <a:gd name="adj1" fmla="val 166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19" name="TextBox 18">
            <a:extLst>
              <a:ext uri="{FF2B5EF4-FFF2-40B4-BE49-F238E27FC236}">
                <a16:creationId xmlns:a16="http://schemas.microsoft.com/office/drawing/2014/main" id="{2FB73657-9967-AD5E-39F1-E0D714251369}"/>
              </a:ext>
            </a:extLst>
          </p:cNvPr>
          <p:cNvSpPr txBox="1"/>
          <p:nvPr/>
        </p:nvSpPr>
        <p:spPr>
          <a:xfrm>
            <a:off x="2411539" y="1022064"/>
            <a:ext cx="1179009" cy="184666"/>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Software</a:t>
            </a:r>
          </a:p>
        </p:txBody>
      </p:sp>
      <p:sp>
        <p:nvSpPr>
          <p:cNvPr id="20" name="Freeform: Shape 19">
            <a:extLst>
              <a:ext uri="{FF2B5EF4-FFF2-40B4-BE49-F238E27FC236}">
                <a16:creationId xmlns:a16="http://schemas.microsoft.com/office/drawing/2014/main" id="{4AF7FAFB-E4E1-DC6E-F1F6-3803A47A3027}"/>
              </a:ext>
            </a:extLst>
          </p:cNvPr>
          <p:cNvSpPr/>
          <p:nvPr/>
        </p:nvSpPr>
        <p:spPr>
          <a:xfrm>
            <a:off x="2856973" y="4540785"/>
            <a:ext cx="901104" cy="64838"/>
          </a:xfrm>
          <a:custGeom>
            <a:avLst/>
            <a:gdLst>
              <a:gd name="connsiteX0" fmla="*/ 208521 w 1802437"/>
              <a:gd name="connsiteY0" fmla="*/ 0 h 135291"/>
              <a:gd name="connsiteX1" fmla="*/ 390198 w 1802437"/>
              <a:gd name="connsiteY1" fmla="*/ 0 h 135291"/>
              <a:gd name="connsiteX2" fmla="*/ 1412239 w 1802437"/>
              <a:gd name="connsiteY2" fmla="*/ 0 h 135291"/>
              <a:gd name="connsiteX3" fmla="*/ 1593916 w 1802437"/>
              <a:gd name="connsiteY3" fmla="*/ 0 h 135291"/>
              <a:gd name="connsiteX4" fmla="*/ 1796312 w 1802437"/>
              <a:gd name="connsiteY4" fmla="*/ 117249 h 135291"/>
              <a:gd name="connsiteX5" fmla="*/ 1802437 w 1802437"/>
              <a:gd name="connsiteY5" fmla="*/ 135291 h 135291"/>
              <a:gd name="connsiteX6" fmla="*/ 0 w 1802437"/>
              <a:gd name="connsiteY6" fmla="*/ 135291 h 135291"/>
              <a:gd name="connsiteX7" fmla="*/ 6125 w 1802437"/>
              <a:gd name="connsiteY7" fmla="*/ 117249 h 135291"/>
              <a:gd name="connsiteX8" fmla="*/ 208521 w 1802437"/>
              <a:gd name="connsiteY8" fmla="*/ 0 h 13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437" h="135291">
                <a:moveTo>
                  <a:pt x="208521" y="0"/>
                </a:moveTo>
                <a:lnTo>
                  <a:pt x="390198" y="0"/>
                </a:lnTo>
                <a:lnTo>
                  <a:pt x="1412239" y="0"/>
                </a:lnTo>
                <a:lnTo>
                  <a:pt x="1593916" y="0"/>
                </a:lnTo>
                <a:cubicBezTo>
                  <a:pt x="1789524" y="2381"/>
                  <a:pt x="1749466" y="2488"/>
                  <a:pt x="1796312" y="117249"/>
                </a:cubicBezTo>
                <a:lnTo>
                  <a:pt x="1802437" y="135291"/>
                </a:lnTo>
                <a:lnTo>
                  <a:pt x="0" y="135291"/>
                </a:lnTo>
                <a:lnTo>
                  <a:pt x="6125" y="117249"/>
                </a:lnTo>
                <a:cubicBezTo>
                  <a:pt x="41643" y="19157"/>
                  <a:pt x="21976" y="2380"/>
                  <a:pt x="208521" y="0"/>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pic>
        <p:nvPicPr>
          <p:cNvPr id="21" name="Graphic 20">
            <a:extLst>
              <a:ext uri="{FF2B5EF4-FFF2-40B4-BE49-F238E27FC236}">
                <a16:creationId xmlns:a16="http://schemas.microsoft.com/office/drawing/2014/main" id="{852343DD-162C-83C3-800A-5411E20960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51221" y="974656"/>
            <a:ext cx="279483" cy="279483"/>
          </a:xfrm>
          <a:prstGeom prst="rect">
            <a:avLst/>
          </a:prstGeom>
        </p:spPr>
      </p:pic>
      <p:sp>
        <p:nvSpPr>
          <p:cNvPr id="22" name="TextBox 21">
            <a:extLst>
              <a:ext uri="{FF2B5EF4-FFF2-40B4-BE49-F238E27FC236}">
                <a16:creationId xmlns:a16="http://schemas.microsoft.com/office/drawing/2014/main" id="{1C9058CF-B39D-EC15-BF3E-19651DE7E04D}"/>
              </a:ext>
            </a:extLst>
          </p:cNvPr>
          <p:cNvSpPr txBox="1"/>
          <p:nvPr/>
        </p:nvSpPr>
        <p:spPr>
          <a:xfrm>
            <a:off x="2448264" y="1392849"/>
            <a:ext cx="1718522" cy="1492716"/>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isco </a:t>
            </a:r>
            <a:r>
              <a:rPr kumimoji="0" lang="en-US" sz="1100" b="0" i="0" u="none" strike="noStrike" kern="1200" cap="none" spc="0" normalizeH="0" baseline="0" noProof="0" err="1">
                <a:ln>
                  <a:noFill/>
                </a:ln>
                <a:solidFill>
                  <a:srgbClr val="222222"/>
                </a:solidFill>
                <a:effectLst/>
                <a:uLnTx/>
                <a:uFillTx/>
                <a:latin typeface="Neue Haas Grotesk Text Pro" panose="020B0504020202020204" pitchFamily="34" charset="0"/>
                <a:ea typeface="+mn-ea"/>
                <a:cs typeface="+mn-cs"/>
              </a:rPr>
              <a:t>Intersight</a:t>
            </a:r>
            <a:endPar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endParaRP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isco Nexus Dashboard</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itachi </a:t>
            </a:r>
            <a:r>
              <a:rPr kumimoji="0" lang="en-US" sz="1100" b="0" i="0" u="none" strike="noStrike" kern="1200" cap="none" spc="0" normalizeH="0" baseline="0" noProof="0" err="1">
                <a:ln>
                  <a:noFill/>
                </a:ln>
                <a:solidFill>
                  <a:srgbClr val="222222"/>
                </a:solidFill>
                <a:effectLst/>
                <a:uLnTx/>
                <a:uFillTx/>
                <a:latin typeface="Neue Haas Grotesk Text Pro" panose="020B0504020202020204" pitchFamily="34" charset="0"/>
                <a:ea typeface="+mn-ea"/>
                <a:cs typeface="+mn-cs"/>
              </a:rPr>
              <a:t>EverFlex</a:t>
            </a: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 Control</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itachi Ops Center</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eterogeneous Management Tools</a:t>
            </a:r>
          </a:p>
        </p:txBody>
      </p:sp>
      <p:sp>
        <p:nvSpPr>
          <p:cNvPr id="23" name="Freeform: Shape 22">
            <a:extLst>
              <a:ext uri="{FF2B5EF4-FFF2-40B4-BE49-F238E27FC236}">
                <a16:creationId xmlns:a16="http://schemas.microsoft.com/office/drawing/2014/main" id="{DB38C771-FDF1-38A6-D78A-161E3F2E59A5}"/>
              </a:ext>
            </a:extLst>
          </p:cNvPr>
          <p:cNvSpPr/>
          <p:nvPr/>
        </p:nvSpPr>
        <p:spPr>
          <a:xfrm flipH="1">
            <a:off x="6293949"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24" name="Freeform: Shape 23">
            <a:extLst>
              <a:ext uri="{FF2B5EF4-FFF2-40B4-BE49-F238E27FC236}">
                <a16:creationId xmlns:a16="http://schemas.microsoft.com/office/drawing/2014/main" id="{CE736607-87F9-0FCC-91B5-A6AB787EB1C5}"/>
              </a:ext>
            </a:extLst>
          </p:cNvPr>
          <p:cNvSpPr/>
          <p:nvPr/>
        </p:nvSpPr>
        <p:spPr>
          <a:xfrm>
            <a:off x="4379883" y="1243740"/>
            <a:ext cx="117901" cy="305915"/>
          </a:xfrm>
          <a:custGeom>
            <a:avLst/>
            <a:gdLst>
              <a:gd name="connsiteX0" fmla="*/ 0 w 152400"/>
              <a:gd name="connsiteY0" fmla="*/ 85725 h 376237"/>
              <a:gd name="connsiteX1" fmla="*/ 104775 w 152400"/>
              <a:gd name="connsiteY1" fmla="*/ 376237 h 376237"/>
              <a:gd name="connsiteX2" fmla="*/ 152400 w 152400"/>
              <a:gd name="connsiteY2" fmla="*/ 9525 h 376237"/>
              <a:gd name="connsiteX3" fmla="*/ 19050 w 152400"/>
              <a:gd name="connsiteY3" fmla="*/ 0 h 376237"/>
              <a:gd name="connsiteX4" fmla="*/ 0 w 152400"/>
              <a:gd name="connsiteY4" fmla="*/ 85725 h 37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376237">
                <a:moveTo>
                  <a:pt x="0" y="85725"/>
                </a:moveTo>
                <a:lnTo>
                  <a:pt x="104775" y="376237"/>
                </a:lnTo>
                <a:lnTo>
                  <a:pt x="152400" y="9525"/>
                </a:lnTo>
                <a:lnTo>
                  <a:pt x="19050" y="0"/>
                </a:lnTo>
                <a:lnTo>
                  <a:pt x="0" y="85725"/>
                </a:lnTo>
                <a:close/>
              </a:path>
            </a:pathLst>
          </a:custGeom>
          <a:solidFill>
            <a:schemeClr val="accent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25" name="Shape2_20240305_052520">
            <a:extLst>
              <a:ext uri="{FF2B5EF4-FFF2-40B4-BE49-F238E27FC236}">
                <a16:creationId xmlns:a16="http://schemas.microsoft.com/office/drawing/2014/main" id="{97F34E6A-19B2-4DC6-32B2-A90DA83EE332}"/>
              </a:ext>
            </a:extLst>
          </p:cNvPr>
          <p:cNvSpPr/>
          <p:nvPr/>
        </p:nvSpPr>
        <p:spPr>
          <a:xfrm>
            <a:off x="4431406" y="915475"/>
            <a:ext cx="1926055" cy="3690147"/>
          </a:xfrm>
          <a:prstGeom prst="roundRect">
            <a:avLst>
              <a:gd name="adj" fmla="val 2410"/>
            </a:avLst>
          </a:prstGeom>
          <a:solidFill>
            <a:srgbClr val="F1F1F1"/>
          </a:solidFill>
          <a:effectLst>
            <a:outerShdw blurRad="63500" sx="101000" sy="101000" algn="ctr" rotWithShape="0">
              <a:schemeClr val="accent2">
                <a:alpha val="20000"/>
              </a:schemeClr>
            </a:outerShdw>
          </a:effectLst>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22222"/>
              </a:solidFill>
              <a:effectLst/>
              <a:uLnTx/>
              <a:uFillTx/>
              <a:latin typeface="Neue Haas Grotesk Text Pro" panose="020B0504020202020204" pitchFamily="34" charset="0"/>
              <a:ea typeface="+mn-ea"/>
              <a:cs typeface="+mn-cs"/>
            </a:endParaRPr>
          </a:p>
        </p:txBody>
      </p:sp>
      <p:sp>
        <p:nvSpPr>
          <p:cNvPr id="26" name="Rectangle: Top Corners Rounded 25">
            <a:extLst>
              <a:ext uri="{FF2B5EF4-FFF2-40B4-BE49-F238E27FC236}">
                <a16:creationId xmlns:a16="http://schemas.microsoft.com/office/drawing/2014/main" id="{4D0FDA54-BF09-C484-5BD4-1762ED6F179C}"/>
              </a:ext>
            </a:extLst>
          </p:cNvPr>
          <p:cNvSpPr/>
          <p:nvPr/>
        </p:nvSpPr>
        <p:spPr>
          <a:xfrm>
            <a:off x="4377018" y="915476"/>
            <a:ext cx="2034832" cy="397842"/>
          </a:xfrm>
          <a:prstGeom prst="round2SameRect">
            <a:avLst>
              <a:gd name="adj1" fmla="val 13580"/>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sp>
        <p:nvSpPr>
          <p:cNvPr id="27" name="TextBox 26">
            <a:extLst>
              <a:ext uri="{FF2B5EF4-FFF2-40B4-BE49-F238E27FC236}">
                <a16:creationId xmlns:a16="http://schemas.microsoft.com/office/drawing/2014/main" id="{F656C629-D93F-1DE6-C83A-0B9E7DE1A33F}"/>
              </a:ext>
            </a:extLst>
          </p:cNvPr>
          <p:cNvSpPr txBox="1"/>
          <p:nvPr/>
        </p:nvSpPr>
        <p:spPr>
          <a:xfrm>
            <a:off x="4498447" y="1022064"/>
            <a:ext cx="1179009" cy="184666"/>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white"/>
                </a:solidFill>
                <a:effectLst/>
                <a:uLnTx/>
                <a:uFillTx/>
                <a:latin typeface="Neue Haas Grotesk Text Pro" panose="020B0504020202020204" pitchFamily="34" charset="0"/>
                <a:ea typeface="+mn-ea"/>
                <a:cs typeface="+mn-cs"/>
              </a:rPr>
              <a:t>Hardware</a:t>
            </a:r>
          </a:p>
        </p:txBody>
      </p:sp>
      <p:sp>
        <p:nvSpPr>
          <p:cNvPr id="28" name="Freeform: Shape 27">
            <a:extLst>
              <a:ext uri="{FF2B5EF4-FFF2-40B4-BE49-F238E27FC236}">
                <a16:creationId xmlns:a16="http://schemas.microsoft.com/office/drawing/2014/main" id="{B584572B-3050-62B0-1CEF-EB1F7C0A4C80}"/>
              </a:ext>
            </a:extLst>
          </p:cNvPr>
          <p:cNvSpPr/>
          <p:nvPr/>
        </p:nvSpPr>
        <p:spPr>
          <a:xfrm>
            <a:off x="4943881" y="4540785"/>
            <a:ext cx="901104" cy="64838"/>
          </a:xfrm>
          <a:custGeom>
            <a:avLst/>
            <a:gdLst>
              <a:gd name="connsiteX0" fmla="*/ 208521 w 1802437"/>
              <a:gd name="connsiteY0" fmla="*/ 0 h 135291"/>
              <a:gd name="connsiteX1" fmla="*/ 390198 w 1802437"/>
              <a:gd name="connsiteY1" fmla="*/ 0 h 135291"/>
              <a:gd name="connsiteX2" fmla="*/ 1412239 w 1802437"/>
              <a:gd name="connsiteY2" fmla="*/ 0 h 135291"/>
              <a:gd name="connsiteX3" fmla="*/ 1593916 w 1802437"/>
              <a:gd name="connsiteY3" fmla="*/ 0 h 135291"/>
              <a:gd name="connsiteX4" fmla="*/ 1796312 w 1802437"/>
              <a:gd name="connsiteY4" fmla="*/ 117249 h 135291"/>
              <a:gd name="connsiteX5" fmla="*/ 1802437 w 1802437"/>
              <a:gd name="connsiteY5" fmla="*/ 135291 h 135291"/>
              <a:gd name="connsiteX6" fmla="*/ 0 w 1802437"/>
              <a:gd name="connsiteY6" fmla="*/ 135291 h 135291"/>
              <a:gd name="connsiteX7" fmla="*/ 6125 w 1802437"/>
              <a:gd name="connsiteY7" fmla="*/ 117249 h 135291"/>
              <a:gd name="connsiteX8" fmla="*/ 208521 w 1802437"/>
              <a:gd name="connsiteY8" fmla="*/ 0 h 13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437" h="135291">
                <a:moveTo>
                  <a:pt x="208521" y="0"/>
                </a:moveTo>
                <a:lnTo>
                  <a:pt x="390198" y="0"/>
                </a:lnTo>
                <a:lnTo>
                  <a:pt x="1412239" y="0"/>
                </a:lnTo>
                <a:lnTo>
                  <a:pt x="1593916" y="0"/>
                </a:lnTo>
                <a:cubicBezTo>
                  <a:pt x="1789524" y="2381"/>
                  <a:pt x="1749466" y="2488"/>
                  <a:pt x="1796312" y="117249"/>
                </a:cubicBezTo>
                <a:lnTo>
                  <a:pt x="1802437" y="135291"/>
                </a:lnTo>
                <a:lnTo>
                  <a:pt x="0" y="135291"/>
                </a:lnTo>
                <a:lnTo>
                  <a:pt x="6125" y="117249"/>
                </a:lnTo>
                <a:cubicBezTo>
                  <a:pt x="41643" y="19157"/>
                  <a:pt x="21976" y="2380"/>
                  <a:pt x="208521" y="0"/>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D003F"/>
              </a:solidFill>
              <a:effectLst/>
              <a:uLnTx/>
              <a:uFillTx/>
              <a:latin typeface="Neue Haas Grotesk Text Pro" panose="020B0504020202020204" pitchFamily="34" charset="0"/>
              <a:ea typeface="+mn-ea"/>
              <a:cs typeface="+mn-cs"/>
            </a:endParaRPr>
          </a:p>
        </p:txBody>
      </p:sp>
      <p:pic>
        <p:nvPicPr>
          <p:cNvPr id="29" name="Graphic 28">
            <a:extLst>
              <a:ext uri="{FF2B5EF4-FFF2-40B4-BE49-F238E27FC236}">
                <a16:creationId xmlns:a16="http://schemas.microsoft.com/office/drawing/2014/main" id="{B2E07BB3-7FCC-241C-262A-D8056DD96AD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38129" y="974656"/>
            <a:ext cx="279483" cy="279483"/>
          </a:xfrm>
          <a:prstGeom prst="rect">
            <a:avLst/>
          </a:prstGeom>
        </p:spPr>
      </p:pic>
      <p:sp>
        <p:nvSpPr>
          <p:cNvPr id="30" name="TextBox 29">
            <a:extLst>
              <a:ext uri="{FF2B5EF4-FFF2-40B4-BE49-F238E27FC236}">
                <a16:creationId xmlns:a16="http://schemas.microsoft.com/office/drawing/2014/main" id="{BBEA8E18-0B13-CE65-BF25-6092A070EB6B}"/>
              </a:ext>
            </a:extLst>
          </p:cNvPr>
          <p:cNvSpPr txBox="1"/>
          <p:nvPr/>
        </p:nvSpPr>
        <p:spPr>
          <a:xfrm>
            <a:off x="4535172" y="1392849"/>
            <a:ext cx="1718522" cy="2970044"/>
          </a:xfrm>
          <a:prstGeom prst="rect">
            <a:avLst/>
          </a:prstGeom>
          <a:noFill/>
        </p:spPr>
        <p:txBody>
          <a:bodyPr vert="horz" wrap="square" lIns="0" tIns="0" rIns="0" bIns="0" rtlCol="0">
            <a:spAutoFit/>
          </a:bodyPr>
          <a:lstStyle>
            <a:defPPr>
              <a:defRPr lang="en-US"/>
            </a:defPPr>
            <a:lvl1pPr>
              <a:spcAft>
                <a:spcPts val="600"/>
              </a:spcAft>
              <a:defRPr sz="1400"/>
            </a:lvl1pPr>
            <a:lvl2pPr marL="180000" lvl="1" indent="-180000">
              <a:spcAft>
                <a:spcPts val="600"/>
              </a:spcAft>
              <a:buSzPct val="100000"/>
              <a:buFont typeface="Symbol" panose="05050102010706020507" pitchFamily="18" charset="2"/>
              <a:buChar char=""/>
              <a:defRPr sz="1400"/>
            </a:lvl2pPr>
            <a:lvl3pPr marL="360000" lvl="2" indent="-180000">
              <a:spcAft>
                <a:spcPts val="600"/>
              </a:spcAft>
              <a:buSzPct val="100000"/>
              <a:buFont typeface="Arial" panose="020B0604020202020204" pitchFamily="34" charset="0"/>
              <a:buChar char="–"/>
              <a:defRPr sz="1400"/>
            </a:lvl3pPr>
            <a:lvl4pPr marL="540000" lvl="3" indent="-180000">
              <a:spcAft>
                <a:spcPts val="600"/>
              </a:spcAft>
              <a:buSzPct val="100000"/>
              <a:buFont typeface="Arial" panose="020B0604020202020204" pitchFamily="34" charset="0"/>
              <a:buChar char="–"/>
              <a:defRPr sz="1400"/>
            </a:lvl4pPr>
            <a:lvl5pPr marL="720000" lvl="4" indent="-180000">
              <a:spcAft>
                <a:spcPts val="600"/>
              </a:spcAft>
              <a:buSzPct val="100000"/>
              <a:buFont typeface="Arial" panose="020B0604020202020204" pitchFamily="34" charset="0"/>
              <a:buChar char="–"/>
              <a:defRPr sz="1400"/>
            </a:lvl5pPr>
          </a:lstStyle>
          <a:p>
            <a:pPr marL="0" marR="0" lvl="0" indent="0" algn="l" defTabSz="914400" rtl="0" eaLnBrk="1" fontAlgn="auto" latinLnBrk="0" hangingPunct="1">
              <a:lnSpc>
                <a:spcPct val="100000"/>
              </a:lnSpc>
              <a:spcBef>
                <a:spcPts val="0"/>
              </a:spcBef>
              <a:spcAft>
                <a:spcPts val="500"/>
              </a:spcAft>
              <a:buClr>
                <a:srgbClr val="CC0000"/>
              </a:buClr>
              <a:buSzTx/>
              <a:buFontTx/>
              <a:buNone/>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isco UC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X-Serie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Serie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I &amp; HCI</a:t>
            </a:r>
          </a:p>
          <a:p>
            <a:pPr marL="0" marR="0" lvl="0" indent="0" algn="l" defTabSz="914400" rtl="0" eaLnBrk="1" fontAlgn="auto" latinLnBrk="0" hangingPunct="1">
              <a:lnSpc>
                <a:spcPct val="100000"/>
              </a:lnSpc>
              <a:spcBef>
                <a:spcPts val="0"/>
              </a:spcBef>
              <a:spcAft>
                <a:spcPts val="500"/>
              </a:spcAft>
              <a:buClr>
                <a:srgbClr val="CC0000"/>
              </a:buClr>
              <a:buSzTx/>
              <a:buFontTx/>
              <a:buNone/>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Cisco Networking</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Nexu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MDS</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Fabric Interconnects</a:t>
            </a:r>
          </a:p>
          <a:p>
            <a:pPr marL="0" marR="0" lvl="0" indent="0" algn="l" defTabSz="914400" rtl="0" eaLnBrk="1" fontAlgn="auto" latinLnBrk="0" hangingPunct="1">
              <a:lnSpc>
                <a:spcPct val="100000"/>
              </a:lnSpc>
              <a:spcBef>
                <a:spcPts val="0"/>
              </a:spcBef>
              <a:spcAft>
                <a:spcPts val="500"/>
              </a:spcAft>
              <a:buClr>
                <a:srgbClr val="CC0000"/>
              </a:buClr>
              <a:buSzTx/>
              <a:buFontTx/>
              <a:buNone/>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itachi Storage</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Block </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File </a:t>
            </a:r>
          </a:p>
          <a:p>
            <a:pPr marL="146304" marR="0" lvl="0" indent="-146304" algn="l" defTabSz="914400" rtl="0" eaLnBrk="1" fontAlgn="auto" latinLnBrk="0" hangingPunct="1">
              <a:lnSpc>
                <a:spcPct val="100000"/>
              </a:lnSpc>
              <a:spcBef>
                <a:spcPts val="0"/>
              </a:spcBef>
              <a:spcAft>
                <a:spcPts val="500"/>
              </a:spcAft>
              <a:buClr>
                <a:srgbClr val="CC0000"/>
              </a:buClr>
              <a:buSzTx/>
              <a:buFont typeface="Arial" panose="020B0604020202020204" pitchFamily="34" charset="0"/>
              <a:buChar char="•"/>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Object</a:t>
            </a:r>
          </a:p>
          <a:p>
            <a:pPr marL="0" marR="0" lvl="0" indent="0" algn="l" defTabSz="914400" rtl="0" eaLnBrk="1" fontAlgn="auto" latinLnBrk="0" hangingPunct="1">
              <a:lnSpc>
                <a:spcPct val="100000"/>
              </a:lnSpc>
              <a:spcBef>
                <a:spcPts val="0"/>
              </a:spcBef>
              <a:spcAft>
                <a:spcPts val="500"/>
              </a:spcAft>
              <a:buClr>
                <a:srgbClr val="CC0000"/>
              </a:buClr>
              <a:buSzTx/>
              <a:buFontTx/>
              <a:buNone/>
              <a:tabLst/>
              <a:defRPr/>
            </a:pPr>
            <a:r>
              <a:rPr kumimoji="0" lang="en-US" sz="1100" b="0" i="0" u="none" strike="noStrike" kern="1200" cap="none" spc="0" normalizeH="0" baseline="0" noProof="0">
                <a:ln>
                  <a:noFill/>
                </a:ln>
                <a:solidFill>
                  <a:srgbClr val="222222"/>
                </a:solidFill>
                <a:effectLst/>
                <a:uLnTx/>
                <a:uFillTx/>
                <a:latin typeface="Neue Haas Grotesk Text Pro" panose="020B0504020202020204" pitchFamily="34" charset="0"/>
                <a:ea typeface="+mn-ea"/>
                <a:cs typeface="+mn-cs"/>
              </a:rPr>
              <a:t>Heterogeneous Infra</a:t>
            </a:r>
          </a:p>
        </p:txBody>
      </p:sp>
      <p:sp>
        <p:nvSpPr>
          <p:cNvPr id="31" name="Rectangle: Rounded Corners 30">
            <a:extLst>
              <a:ext uri="{FF2B5EF4-FFF2-40B4-BE49-F238E27FC236}">
                <a16:creationId xmlns:a16="http://schemas.microsoft.com/office/drawing/2014/main" id="{FDEF3EBC-353E-6056-FA05-B6D8C248B376}"/>
              </a:ext>
            </a:extLst>
          </p:cNvPr>
          <p:cNvSpPr/>
          <p:nvPr/>
        </p:nvSpPr>
        <p:spPr>
          <a:xfrm>
            <a:off x="6478891" y="915475"/>
            <a:ext cx="2417459" cy="1180386"/>
          </a:xfrm>
          <a:prstGeom prst="roundRect">
            <a:avLst>
              <a:gd name="adj" fmla="val 2214"/>
            </a:avLst>
          </a:prstGeom>
          <a:solidFill>
            <a:srgbClr val="4571B6"/>
          </a:solidFill>
        </p:spPr>
        <p:txBody>
          <a:bodyPr wrap="square" lIns="45720" tIns="73152" rIns="45720" bIns="73152"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sym typeface="Arial"/>
              </a:rPr>
              <a:t>Heterogenous Infrastructure</a:t>
            </a:r>
          </a:p>
        </p:txBody>
      </p:sp>
      <p:sp>
        <p:nvSpPr>
          <p:cNvPr id="32" name="Rectangle: Rounded Corners 31">
            <a:extLst>
              <a:ext uri="{FF2B5EF4-FFF2-40B4-BE49-F238E27FC236}">
                <a16:creationId xmlns:a16="http://schemas.microsoft.com/office/drawing/2014/main" id="{50E14E18-AE01-CA84-DCD2-BD3C86F0ABD1}"/>
              </a:ext>
            </a:extLst>
          </p:cNvPr>
          <p:cNvSpPr/>
          <p:nvPr/>
        </p:nvSpPr>
        <p:spPr>
          <a:xfrm>
            <a:off x="6478891" y="2170355"/>
            <a:ext cx="2417459" cy="1180386"/>
          </a:xfrm>
          <a:prstGeom prst="roundRect">
            <a:avLst>
              <a:gd name="adj" fmla="val 2214"/>
            </a:avLst>
          </a:prstGeom>
          <a:solidFill>
            <a:srgbClr val="4571B6"/>
          </a:solidFill>
        </p:spPr>
        <p:txBody>
          <a:bodyPr wrap="square" lIns="45720" tIns="73152" rIns="45720" bIns="73152"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sym typeface="Arial"/>
              </a:rPr>
              <a:t>API Integrations</a:t>
            </a:r>
          </a:p>
        </p:txBody>
      </p:sp>
      <p:sp>
        <p:nvSpPr>
          <p:cNvPr id="33" name="Rectangle: Rounded Corners 32">
            <a:extLst>
              <a:ext uri="{FF2B5EF4-FFF2-40B4-BE49-F238E27FC236}">
                <a16:creationId xmlns:a16="http://schemas.microsoft.com/office/drawing/2014/main" id="{C3BEB0D1-64CA-166F-9640-50944B0CD5DE}"/>
              </a:ext>
            </a:extLst>
          </p:cNvPr>
          <p:cNvSpPr/>
          <p:nvPr/>
        </p:nvSpPr>
        <p:spPr>
          <a:xfrm>
            <a:off x="6478891" y="3425236"/>
            <a:ext cx="2417459" cy="1180386"/>
          </a:xfrm>
          <a:prstGeom prst="roundRect">
            <a:avLst>
              <a:gd name="adj" fmla="val 2214"/>
            </a:avLst>
          </a:prstGeom>
          <a:solidFill>
            <a:srgbClr val="4571B6"/>
          </a:solidFill>
        </p:spPr>
        <p:txBody>
          <a:bodyPr wrap="square" lIns="45720" tIns="73152" rIns="45720" bIns="73152"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Neue Haas Grotesk Text Pro" panose="020B0504020202020204" pitchFamily="34" charset="0"/>
                <a:ea typeface="+mn-ea"/>
                <a:cs typeface="+mn-cs"/>
                <a:sym typeface="Arial"/>
              </a:rPr>
              <a:t>Technology Agnostic</a:t>
            </a:r>
          </a:p>
        </p:txBody>
      </p:sp>
      <p:cxnSp>
        <p:nvCxnSpPr>
          <p:cNvPr id="34" name="Straight Connector 33">
            <a:extLst>
              <a:ext uri="{FF2B5EF4-FFF2-40B4-BE49-F238E27FC236}">
                <a16:creationId xmlns:a16="http://schemas.microsoft.com/office/drawing/2014/main" id="{E7FCFC1F-5FBF-9F81-CC49-88319E42BC18}"/>
              </a:ext>
            </a:extLst>
          </p:cNvPr>
          <p:cNvCxnSpPr>
            <a:cxnSpLocks/>
          </p:cNvCxnSpPr>
          <p:nvPr/>
        </p:nvCxnSpPr>
        <p:spPr>
          <a:xfrm>
            <a:off x="6478891" y="2509019"/>
            <a:ext cx="241745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A9066FD-0E39-0E39-170C-CBC7ED200C25}"/>
              </a:ext>
            </a:extLst>
          </p:cNvPr>
          <p:cNvCxnSpPr>
            <a:cxnSpLocks/>
          </p:cNvCxnSpPr>
          <p:nvPr/>
        </p:nvCxnSpPr>
        <p:spPr>
          <a:xfrm>
            <a:off x="6478891" y="3763900"/>
            <a:ext cx="241745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70A6B5ED-6554-937D-979D-D7C1BE347E17}"/>
              </a:ext>
            </a:extLst>
          </p:cNvPr>
          <p:cNvPicPr>
            <a:picLocks noChangeAspect="1"/>
          </p:cNvPicPr>
          <p:nvPr/>
        </p:nvPicPr>
        <p:blipFill>
          <a:blip r:embed="rId8" cstate="print">
            <a:lum bright="100000"/>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72874" y="1633978"/>
            <a:ext cx="515229" cy="83452"/>
          </a:xfrm>
          <a:prstGeom prst="rect">
            <a:avLst/>
          </a:prstGeom>
        </p:spPr>
      </p:pic>
      <p:pic>
        <p:nvPicPr>
          <p:cNvPr id="37" name="Graphic 36">
            <a:extLst>
              <a:ext uri="{FF2B5EF4-FFF2-40B4-BE49-F238E27FC236}">
                <a16:creationId xmlns:a16="http://schemas.microsoft.com/office/drawing/2014/main" id="{DBDFE959-8D88-AC78-58C5-5D25F615316F}"/>
              </a:ext>
            </a:extLst>
          </p:cNvPr>
          <p:cNvPicPr>
            <a:picLocks noChangeAspect="1"/>
          </p:cNvPicPr>
          <p:nvPr/>
        </p:nvPicPr>
        <p:blipFill>
          <a:blip r:embed="rId10" cstate="print">
            <a:lum bright="10000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82614" y="1558116"/>
            <a:ext cx="470349" cy="235177"/>
          </a:xfrm>
          <a:prstGeom prst="rect">
            <a:avLst/>
          </a:prstGeom>
        </p:spPr>
      </p:pic>
      <p:pic>
        <p:nvPicPr>
          <p:cNvPr id="38" name="Picture 4">
            <a:extLst>
              <a:ext uri="{FF2B5EF4-FFF2-40B4-BE49-F238E27FC236}">
                <a16:creationId xmlns:a16="http://schemas.microsoft.com/office/drawing/2014/main" id="{A0BFC397-73EC-5D7E-113F-6908FB7561C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tretch/>
        </p:blipFill>
        <p:spPr bwMode="auto">
          <a:xfrm>
            <a:off x="8208015" y="1573908"/>
            <a:ext cx="585267" cy="164606"/>
          </a:xfrm>
          <a:prstGeom prst="rect">
            <a:avLst/>
          </a:prstGeom>
          <a:extLst>
            <a:ext uri="{909E8E84-426E-40DD-AFC4-6F175D3DCCD1}">
              <a14:hiddenFill xmlns:a14="http://schemas.microsoft.com/office/drawing/2010/main">
                <a:solidFill>
                  <a:srgbClr val="FFFFFF"/>
                </a:solidFill>
              </a14:hiddenFill>
            </a:ext>
          </a:extLst>
        </p:spPr>
      </p:pic>
      <p:pic>
        <p:nvPicPr>
          <p:cNvPr id="39" name="Picture 6">
            <a:extLst>
              <a:ext uri="{FF2B5EF4-FFF2-40B4-BE49-F238E27FC236}">
                <a16:creationId xmlns:a16="http://schemas.microsoft.com/office/drawing/2014/main" id="{DB6A65E9-9F04-7D53-CCD3-77923D2E965D}"/>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tretch>
            <a:fillRect/>
          </a:stretch>
        </p:blipFill>
        <p:spPr bwMode="auto">
          <a:xfrm>
            <a:off x="6710040" y="1874803"/>
            <a:ext cx="798645" cy="134124"/>
          </a:xfrm>
          <a:prstGeom prst="rect">
            <a:avLst/>
          </a:prstGeom>
          <a:extLst>
            <a:ext uri="{909E8E84-426E-40DD-AFC4-6F175D3DCCD1}">
              <a14:hiddenFill xmlns:a14="http://schemas.microsoft.com/office/drawing/2010/main">
                <a:solidFill>
                  <a:srgbClr val="FFFFFF"/>
                </a:solidFill>
              </a14:hiddenFill>
            </a:ext>
          </a:extLst>
        </p:spPr>
      </p:pic>
      <p:grpSp>
        <p:nvGrpSpPr>
          <p:cNvPr id="91" name="Group 90">
            <a:extLst>
              <a:ext uri="{FF2B5EF4-FFF2-40B4-BE49-F238E27FC236}">
                <a16:creationId xmlns:a16="http://schemas.microsoft.com/office/drawing/2014/main" id="{A63552F6-2589-31F6-C6EC-8680DF901536}"/>
              </a:ext>
            </a:extLst>
          </p:cNvPr>
          <p:cNvGrpSpPr/>
          <p:nvPr/>
        </p:nvGrpSpPr>
        <p:grpSpPr>
          <a:xfrm>
            <a:off x="6895372" y="1380707"/>
            <a:ext cx="1584496" cy="125335"/>
            <a:chOff x="6582614" y="1327651"/>
            <a:chExt cx="1584496" cy="125335"/>
          </a:xfrm>
        </p:grpSpPr>
        <p:pic>
          <p:nvPicPr>
            <p:cNvPr id="92" name="Graphic 91">
              <a:extLst>
                <a:ext uri="{FF2B5EF4-FFF2-40B4-BE49-F238E27FC236}">
                  <a16:creationId xmlns:a16="http://schemas.microsoft.com/office/drawing/2014/main" id="{2B5A3340-D314-6AD3-4183-02EE31C8861F}"/>
                </a:ext>
              </a:extLst>
            </p:cNvPr>
            <p:cNvPicPr>
              <a:picLocks noChangeAspect="1"/>
            </p:cNvPicPr>
            <p:nvPr/>
          </p:nvPicPr>
          <p:blipFill rotWithShape="1">
            <a:blip r:embed="rId14" cstate="print">
              <a:lum bright="100000"/>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7273" t="36133" r="17147" b="34533"/>
            <a:stretch/>
          </p:blipFill>
          <p:spPr>
            <a:xfrm>
              <a:off x="6582614" y="1327651"/>
              <a:ext cx="560395" cy="125335"/>
            </a:xfrm>
            <a:prstGeom prst="rect">
              <a:avLst/>
            </a:prstGeom>
          </p:spPr>
        </p:pic>
        <p:pic>
          <p:nvPicPr>
            <p:cNvPr id="93" name="Picture 2">
              <a:extLst>
                <a:ext uri="{FF2B5EF4-FFF2-40B4-BE49-F238E27FC236}">
                  <a16:creationId xmlns:a16="http://schemas.microsoft.com/office/drawing/2014/main" id="{D1202D9D-835C-9B0F-1DF5-16E2EEB056D0}"/>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7508685" y="1335911"/>
              <a:ext cx="658425" cy="109738"/>
            </a:xfrm>
            <a:prstGeom prst="rect">
              <a:avLst/>
            </a:prstGeom>
            <a:extLst>
              <a:ext uri="{909E8E84-426E-40DD-AFC4-6F175D3DCCD1}">
                <a14:hiddenFill xmlns:a14="http://schemas.microsoft.com/office/drawing/2010/main">
                  <a:solidFill>
                    <a:srgbClr val="FFFFFF"/>
                  </a:solidFill>
                </a14:hiddenFill>
              </a:ext>
            </a:extLst>
          </p:spPr>
        </p:pic>
      </p:grpSp>
      <p:pic>
        <p:nvPicPr>
          <p:cNvPr id="94" name="Picture 4" descr="Download Nutanix Logo in SVG Vector or PNG File Format - Logo.wine">
            <a:extLst>
              <a:ext uri="{FF2B5EF4-FFF2-40B4-BE49-F238E27FC236}">
                <a16:creationId xmlns:a16="http://schemas.microsoft.com/office/drawing/2014/main" id="{EB7F3C87-5D78-C5EC-6962-302560922D2D}"/>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tretch/>
        </p:blipFill>
        <p:spPr bwMode="auto">
          <a:xfrm>
            <a:off x="7726625" y="1882140"/>
            <a:ext cx="719390" cy="103641"/>
          </a:xfrm>
          <a:prstGeom prst="rect">
            <a:avLst/>
          </a:prstGeom>
          <a:extLst>
            <a:ext uri="{909E8E84-426E-40DD-AFC4-6F175D3DCCD1}">
              <a14:hiddenFill xmlns:a14="http://schemas.microsoft.com/office/drawing/2010/main">
                <a:solidFill>
                  <a:srgbClr val="FFFFFF"/>
                </a:solidFill>
              </a14:hiddenFill>
            </a:ext>
          </a:extLst>
        </p:spPr>
      </p:pic>
      <p:cxnSp>
        <p:nvCxnSpPr>
          <p:cNvPr id="95" name="Straight Connector 94">
            <a:extLst>
              <a:ext uri="{FF2B5EF4-FFF2-40B4-BE49-F238E27FC236}">
                <a16:creationId xmlns:a16="http://schemas.microsoft.com/office/drawing/2014/main" id="{07C49537-963A-2919-016F-7605010B779C}"/>
              </a:ext>
            </a:extLst>
          </p:cNvPr>
          <p:cNvCxnSpPr>
            <a:cxnSpLocks/>
          </p:cNvCxnSpPr>
          <p:nvPr/>
        </p:nvCxnSpPr>
        <p:spPr>
          <a:xfrm>
            <a:off x="6478891" y="1254139"/>
            <a:ext cx="241745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2" name="Graphic 101">
            <a:extLst>
              <a:ext uri="{FF2B5EF4-FFF2-40B4-BE49-F238E27FC236}">
                <a16:creationId xmlns:a16="http://schemas.microsoft.com/office/drawing/2014/main" id="{165862D1-55EE-99C6-6640-2603ED1A9500}"/>
              </a:ext>
            </a:extLst>
          </p:cNvPr>
          <p:cNvPicPr>
            <a:picLocks noChangeAspect="1"/>
          </p:cNvPicPr>
          <p:nvPr/>
        </p:nvPicPr>
        <p:blipFill rotWithShape="1">
          <a:blip r:embed="rId18" cstate="print">
            <a:lum bright="100000"/>
            <a:extLst>
              <a:ext uri="{28A0092B-C50C-407E-A947-70E740481C1C}">
                <a14:useLocalDpi xmlns:a14="http://schemas.microsoft.com/office/drawing/2010/main" val="0"/>
              </a:ext>
              <a:ext uri="{96DAC541-7B7A-43D3-8B79-37D633B846F1}">
                <asvg:svgBlip xmlns:asvg="http://schemas.microsoft.com/office/drawing/2016/SVG/main" r:embed="rId19"/>
              </a:ext>
            </a:extLst>
          </a:blip>
          <a:srcRect t="22861" b="22861"/>
          <a:stretch/>
        </p:blipFill>
        <p:spPr>
          <a:xfrm>
            <a:off x="7191783" y="2992690"/>
            <a:ext cx="395963" cy="107461"/>
          </a:xfrm>
          <a:prstGeom prst="rect">
            <a:avLst/>
          </a:prstGeom>
        </p:spPr>
      </p:pic>
      <p:pic>
        <p:nvPicPr>
          <p:cNvPr id="103" name="Picture 2" descr="Kubernetes white logo transparent PNG - StickPNG">
            <a:extLst>
              <a:ext uri="{FF2B5EF4-FFF2-40B4-BE49-F238E27FC236}">
                <a16:creationId xmlns:a16="http://schemas.microsoft.com/office/drawing/2014/main" id="{04836569-F315-148E-A167-4DDA09B1268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6532685" y="2640947"/>
            <a:ext cx="733182" cy="17769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6">
            <a:extLst>
              <a:ext uri="{FF2B5EF4-FFF2-40B4-BE49-F238E27FC236}">
                <a16:creationId xmlns:a16="http://schemas.microsoft.com/office/drawing/2014/main" id="{38EF96B6-AAFF-E243-1DFB-C0F892BB1188}"/>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7446505" y="2665792"/>
            <a:ext cx="514866" cy="155532"/>
          </a:xfrm>
          <a:prstGeom prst="rect">
            <a:avLst/>
          </a:prstGeom>
          <a:extLst>
            <a:ext uri="{909E8E84-426E-40DD-AFC4-6F175D3DCCD1}">
              <a14:hiddenFill xmlns:a14="http://schemas.microsoft.com/office/drawing/2010/main">
                <a:solidFill>
                  <a:srgbClr val="FFFFFF"/>
                </a:solidFill>
              </a14:hiddenFill>
            </a:ext>
          </a:extLst>
        </p:spPr>
      </p:pic>
      <p:pic>
        <p:nvPicPr>
          <p:cNvPr id="105" name="Picture 8">
            <a:extLst>
              <a:ext uri="{FF2B5EF4-FFF2-40B4-BE49-F238E27FC236}">
                <a16:creationId xmlns:a16="http://schemas.microsoft.com/office/drawing/2014/main" id="{9FFA1BBF-AD38-7B66-1E35-EB08BCA639F3}"/>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tretch>
            <a:fillRect/>
          </a:stretch>
        </p:blipFill>
        <p:spPr bwMode="auto">
          <a:xfrm>
            <a:off x="8112152" y="2634481"/>
            <a:ext cx="681123" cy="182348"/>
          </a:xfrm>
          <a:prstGeom prst="rect">
            <a:avLst/>
          </a:prstGeom>
          <a:extLst>
            <a:ext uri="{909E8E84-426E-40DD-AFC4-6F175D3DCCD1}">
              <a14:hiddenFill xmlns:a14="http://schemas.microsoft.com/office/drawing/2010/main">
                <a:solidFill>
                  <a:srgbClr val="FFFFFF"/>
                </a:solidFill>
              </a14:hiddenFill>
            </a:ext>
          </a:extLst>
        </p:spPr>
      </p:pic>
      <p:pic>
        <p:nvPicPr>
          <p:cNvPr id="106" name="Picture 10">
            <a:extLst>
              <a:ext uri="{FF2B5EF4-FFF2-40B4-BE49-F238E27FC236}">
                <a16:creationId xmlns:a16="http://schemas.microsoft.com/office/drawing/2014/main" id="{22FB2EF5-5C69-CF1F-1F21-0E2C38EA9306}"/>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tretch>
            <a:fillRect/>
          </a:stretch>
        </p:blipFill>
        <p:spPr bwMode="auto">
          <a:xfrm>
            <a:off x="7731883" y="2992690"/>
            <a:ext cx="353087" cy="107461"/>
          </a:xfrm>
          <a:prstGeom prst="rect">
            <a:avLst/>
          </a:prstGeom>
          <a:extLst>
            <a:ext uri="{909E8E84-426E-40DD-AFC4-6F175D3DCCD1}">
              <a14:hiddenFill xmlns:a14="http://schemas.microsoft.com/office/drawing/2010/main">
                <a:solidFill>
                  <a:srgbClr val="FFFFFF"/>
                </a:solidFill>
              </a14:hiddenFill>
            </a:ext>
          </a:extLst>
        </p:spPr>
      </p:pic>
      <p:pic>
        <p:nvPicPr>
          <p:cNvPr id="107" name="Picture 12">
            <a:extLst>
              <a:ext uri="{FF2B5EF4-FFF2-40B4-BE49-F238E27FC236}">
                <a16:creationId xmlns:a16="http://schemas.microsoft.com/office/drawing/2014/main" id="{A493C216-9E8C-A30F-B349-143FA784273F}"/>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1126" b="-1126"/>
          <a:stretch/>
        </p:blipFill>
        <p:spPr bwMode="auto">
          <a:xfrm>
            <a:off x="6532685" y="2992690"/>
            <a:ext cx="514961" cy="10746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4" descr="Media Assets | New Relic">
            <a:extLst>
              <a:ext uri="{FF2B5EF4-FFF2-40B4-BE49-F238E27FC236}">
                <a16:creationId xmlns:a16="http://schemas.microsoft.com/office/drawing/2014/main" id="{CC7FCACA-9DAC-61F3-3379-5B287F9730DC}"/>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tretch>
            <a:fillRect/>
          </a:stretch>
        </p:blipFill>
        <p:spPr bwMode="auto">
          <a:xfrm>
            <a:off x="8229106" y="2992690"/>
            <a:ext cx="564169" cy="107461"/>
          </a:xfrm>
          <a:prstGeom prst="rect">
            <a:avLst/>
          </a:prstGeom>
          <a:extLst>
            <a:ext uri="{909E8E84-426E-40DD-AFC4-6F175D3DCCD1}">
              <a14:hiddenFill xmlns:a14="http://schemas.microsoft.com/office/drawing/2010/main">
                <a:solidFill>
                  <a:srgbClr val="FFFFFF"/>
                </a:solidFill>
              </a14:hiddenFill>
            </a:ext>
          </a:extLst>
        </p:spPr>
      </p:pic>
      <p:pic>
        <p:nvPicPr>
          <p:cNvPr id="109" name="Picture 8" descr="Puppet Enterprise Reviews 2023: Details, Pricing, &amp; Features | G2">
            <a:extLst>
              <a:ext uri="{FF2B5EF4-FFF2-40B4-BE49-F238E27FC236}">
                <a16:creationId xmlns:a16="http://schemas.microsoft.com/office/drawing/2014/main" id="{BA5F60AA-5ACC-F182-9206-617054B93AA6}"/>
              </a:ext>
            </a:extLst>
          </p:cNvPr>
          <p:cNvPicPr>
            <a:picLocks noChangeAspect="1" noChangeArrowheads="1"/>
          </p:cNvPicPr>
          <p:nvPr/>
        </p:nvPicPr>
        <p:blipFill>
          <a:blip r:embed="rId26" cstate="screen">
            <a:extLst>
              <a:ext uri="{28A0092B-C50C-407E-A947-70E740481C1C}">
                <a14:useLocalDpi xmlns:a14="http://schemas.microsoft.com/office/drawing/2010/main"/>
              </a:ext>
            </a:extLst>
          </a:blip>
          <a:stretch>
            <a:fillRect/>
          </a:stretch>
        </p:blipFill>
        <p:spPr bwMode="auto">
          <a:xfrm>
            <a:off x="7338505" y="4213528"/>
            <a:ext cx="566977" cy="298730"/>
          </a:xfrm>
          <a:prstGeom prst="rect">
            <a:avLst/>
          </a:prstGeom>
          <a:extLst>
            <a:ext uri="{909E8E84-426E-40DD-AFC4-6F175D3DCCD1}">
              <a14:hiddenFill xmlns:a14="http://schemas.microsoft.com/office/drawing/2010/main">
                <a:solidFill>
                  <a:srgbClr val="FFFFFF"/>
                </a:solidFill>
              </a14:hiddenFill>
            </a:ext>
          </a:extLst>
        </p:spPr>
      </p:pic>
      <p:pic>
        <p:nvPicPr>
          <p:cNvPr id="110" name="Picture 109">
            <a:extLst>
              <a:ext uri="{FF2B5EF4-FFF2-40B4-BE49-F238E27FC236}">
                <a16:creationId xmlns:a16="http://schemas.microsoft.com/office/drawing/2014/main" id="{D89B749E-8C07-FB49-AFD7-616D355CB43E}"/>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7995442" y="4229655"/>
            <a:ext cx="804560" cy="266476"/>
          </a:xfrm>
          <a:prstGeom prst="rect">
            <a:avLst/>
          </a:prstGeom>
        </p:spPr>
      </p:pic>
      <p:pic>
        <p:nvPicPr>
          <p:cNvPr id="111" name="Graphic 110">
            <a:extLst>
              <a:ext uri="{FF2B5EF4-FFF2-40B4-BE49-F238E27FC236}">
                <a16:creationId xmlns:a16="http://schemas.microsoft.com/office/drawing/2014/main" id="{FE5FB1D6-F9F1-D9A5-780C-07E5EF29B314}"/>
              </a:ext>
            </a:extLst>
          </p:cNvPr>
          <p:cNvPicPr>
            <a:picLocks noChangeAspect="1"/>
          </p:cNvPicPr>
          <p:nvPr/>
        </p:nvPicPr>
        <p:blipFill rotWithShape="1">
          <a:blip r:embed="rId28" cstate="screen">
            <a:lum bright="100000"/>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6563872" y="4210497"/>
            <a:ext cx="609585" cy="304792"/>
          </a:xfrm>
          <a:prstGeom prst="rect">
            <a:avLst/>
          </a:prstGeom>
        </p:spPr>
      </p:pic>
      <p:grpSp>
        <p:nvGrpSpPr>
          <p:cNvPr id="112" name="Group 111">
            <a:extLst>
              <a:ext uri="{FF2B5EF4-FFF2-40B4-BE49-F238E27FC236}">
                <a16:creationId xmlns:a16="http://schemas.microsoft.com/office/drawing/2014/main" id="{08C232E4-0114-7D81-AABF-7962FAB956F6}"/>
              </a:ext>
            </a:extLst>
          </p:cNvPr>
          <p:cNvGrpSpPr/>
          <p:nvPr/>
        </p:nvGrpSpPr>
        <p:grpSpPr>
          <a:xfrm>
            <a:off x="6870140" y="3851145"/>
            <a:ext cx="1634960" cy="304826"/>
            <a:chOff x="6790165" y="3851145"/>
            <a:chExt cx="1634960" cy="304826"/>
          </a:xfrm>
        </p:grpSpPr>
        <p:pic>
          <p:nvPicPr>
            <p:cNvPr id="113" name="Graphic 112">
              <a:extLst>
                <a:ext uri="{FF2B5EF4-FFF2-40B4-BE49-F238E27FC236}">
                  <a16:creationId xmlns:a16="http://schemas.microsoft.com/office/drawing/2014/main" id="{6B55F82F-77A6-2846-4186-2E9D07E909C2}"/>
                </a:ext>
              </a:extLst>
            </p:cNvPr>
            <p:cNvPicPr>
              <a:picLocks noChangeAspect="1"/>
            </p:cNvPicPr>
            <p:nvPr/>
          </p:nvPicPr>
          <p:blipFill rotWithShape="1">
            <a:blip r:embed="rId30" cstate="screen">
              <a:lum bright="100000"/>
              <a:extLst>
                <a:ext uri="{28A0092B-C50C-407E-A947-70E740481C1C}">
                  <a14:useLocalDpi xmlns:a14="http://schemas.microsoft.com/office/drawing/2010/main" val="0"/>
                </a:ext>
                <a:ext uri="{96DAC541-7B7A-43D3-8B79-37D633B846F1}">
                  <asvg:svgBlip xmlns:asvg="http://schemas.microsoft.com/office/drawing/2016/SVG/main" r:embed="rId31"/>
                </a:ext>
              </a:extLst>
            </a:blip>
            <a:srcRect t="16509" b="16509"/>
            <a:stretch/>
          </p:blipFill>
          <p:spPr>
            <a:xfrm>
              <a:off x="6790165" y="3869102"/>
              <a:ext cx="697099" cy="233463"/>
            </a:xfrm>
            <a:prstGeom prst="rect">
              <a:avLst/>
            </a:prstGeom>
          </p:spPr>
        </p:pic>
        <p:pic>
          <p:nvPicPr>
            <p:cNvPr id="114" name="Picture 2" descr="Ansible Best Practices: Part 1. There are a lot of DevOps tools out… | by  Miika Kankare | Polar Squad | Medium">
              <a:extLst>
                <a:ext uri="{FF2B5EF4-FFF2-40B4-BE49-F238E27FC236}">
                  <a16:creationId xmlns:a16="http://schemas.microsoft.com/office/drawing/2014/main" id="{57E70931-5535-7736-16DF-51B924191C8C}"/>
                </a:ext>
              </a:extLst>
            </p:cNvPr>
            <p:cNvPicPr>
              <a:picLocks noChangeAspect="1" noChangeArrowheads="1"/>
            </p:cNvPicPr>
            <p:nvPr/>
          </p:nvPicPr>
          <p:blipFill rotWithShape="1">
            <a:blip r:embed="rId32" cstate="print">
              <a:extLst>
                <a:ext uri="{28A0092B-C50C-407E-A947-70E740481C1C}">
                  <a14:useLocalDpi xmlns:a14="http://schemas.microsoft.com/office/drawing/2010/main"/>
                </a:ext>
              </a:extLst>
            </a:blip>
            <a:stretch/>
          </p:blipFill>
          <p:spPr bwMode="auto">
            <a:xfrm>
              <a:off x="7632576" y="3851145"/>
              <a:ext cx="792549" cy="304826"/>
            </a:xfrm>
            <a:prstGeom prst="rect">
              <a:avLst/>
            </a:prstGeom>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656702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HV2024">
  <a:themeElements>
    <a:clrScheme name="HV 2024 Rebrand ">
      <a:dk1>
        <a:srgbClr val="222222"/>
      </a:dk1>
      <a:lt1>
        <a:srgbClr val="FFFFFF"/>
      </a:lt1>
      <a:dk2>
        <a:srgbClr val="222222"/>
      </a:dk2>
      <a:lt2>
        <a:srgbClr val="F1F1F1"/>
      </a:lt2>
      <a:accent1>
        <a:srgbClr val="F6C100"/>
      </a:accent1>
      <a:accent2>
        <a:srgbClr val="CC0000"/>
      </a:accent2>
      <a:accent3>
        <a:srgbClr val="93419A"/>
      </a:accent3>
      <a:accent4>
        <a:srgbClr val="F10000"/>
      </a:accent4>
      <a:accent5>
        <a:srgbClr val="4571B6"/>
      </a:accent5>
      <a:accent6>
        <a:srgbClr val="83C3ED"/>
      </a:accent6>
      <a:hlink>
        <a:srgbClr val="F10000"/>
      </a:hlink>
      <a:folHlink>
        <a:srgbClr val="CC0000"/>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latin typeface="Neue Haas Grotesk Text Pro" panose="020B0504020202020204" pitchFamily="34" charset="77"/>
          </a:defRPr>
        </a:defPPr>
      </a:lstStyle>
      <a:style>
        <a:lnRef idx="1">
          <a:schemeClr val="accent4"/>
        </a:lnRef>
        <a:fillRef idx="3">
          <a:schemeClr val="accent4"/>
        </a:fillRef>
        <a:effectRef idx="2">
          <a:schemeClr val="accent4"/>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600"/>
          </a:spcBef>
          <a:defRPr sz="1600" baseline="0" dirty="0" err="1" smtClean="0">
            <a:solidFill>
              <a:sysClr val="windowText" lastClr="000000"/>
            </a:solidFill>
            <a:latin typeface="Neue Haas Grotesk Text Pro" panose="020B0504020202020204" pitchFamily="34" charset="77"/>
          </a:defRPr>
        </a:defPPr>
      </a:lstStyle>
    </a:txDef>
  </a:objectDefaults>
  <a:extraClrSchemeLst/>
  <a:extLst>
    <a:ext uri="{05A4C25C-085E-4340-85A3-A5531E510DB2}">
      <thm15:themeFamily xmlns:thm15="http://schemas.microsoft.com/office/thememl/2012/main" name="HV-PowerPoint-Template-22April2024" id="{FD20BD5F-720E-8C4D-8233-C2B9FDDB3FBD}" vid="{844B9AC7-CB32-E641-96AD-130D797F131B}"/>
    </a:ext>
  </a:extLst>
</a:theme>
</file>

<file path=ppt/theme/theme2.xml><?xml version="1.0" encoding="utf-8"?>
<a:theme xmlns:a="http://schemas.openxmlformats.org/drawingml/2006/main" name="2_HV2024">
  <a:themeElements>
    <a:clrScheme name="HV 2024 Rebrand ">
      <a:dk1>
        <a:srgbClr val="222222"/>
      </a:dk1>
      <a:lt1>
        <a:srgbClr val="FFFFFF"/>
      </a:lt1>
      <a:dk2>
        <a:srgbClr val="222222"/>
      </a:dk2>
      <a:lt2>
        <a:srgbClr val="F1F1F1"/>
      </a:lt2>
      <a:accent1>
        <a:srgbClr val="F6C100"/>
      </a:accent1>
      <a:accent2>
        <a:srgbClr val="CC0000"/>
      </a:accent2>
      <a:accent3>
        <a:srgbClr val="93419A"/>
      </a:accent3>
      <a:accent4>
        <a:srgbClr val="F10000"/>
      </a:accent4>
      <a:accent5>
        <a:srgbClr val="4571B6"/>
      </a:accent5>
      <a:accent6>
        <a:srgbClr val="83C3ED"/>
      </a:accent6>
      <a:hlink>
        <a:srgbClr val="F10000"/>
      </a:hlink>
      <a:folHlink>
        <a:srgbClr val="CC0000"/>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latin typeface="Neue Haas Grotesk Text Pro" panose="020B0504020202020204" pitchFamily="34" charset="77"/>
          </a:defRPr>
        </a:defPPr>
      </a:lstStyle>
      <a:style>
        <a:lnRef idx="1">
          <a:schemeClr val="accent4"/>
        </a:lnRef>
        <a:fillRef idx="3">
          <a:schemeClr val="accent4"/>
        </a:fillRef>
        <a:effectRef idx="2">
          <a:schemeClr val="accent4"/>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600"/>
          </a:spcBef>
          <a:defRPr sz="1600" baseline="0" dirty="0" err="1" smtClean="0">
            <a:solidFill>
              <a:sysClr val="windowText" lastClr="000000"/>
            </a:solidFill>
            <a:latin typeface="Neue Haas Grotesk Text Pro" panose="020B0504020202020204" pitchFamily="34" charset="77"/>
          </a:defRPr>
        </a:defPPr>
      </a:lstStyle>
    </a:txDef>
  </a:objectDefaults>
  <a:extraClrSchemeLst/>
  <a:extLst>
    <a:ext uri="{05A4C25C-085E-4340-85A3-A5531E510DB2}">
      <thm15:themeFamily xmlns:thm15="http://schemas.microsoft.com/office/thememl/2012/main" name="HV-PowerPoint-Template-22April2024" id="{FD20BD5F-720E-8C4D-8233-C2B9FDDB3FBD}" vid="{844B9AC7-CB32-E641-96AD-130D797F131B}"/>
    </a:ext>
  </a:ext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F77A0C40EDE494190FAB9E1AB82AB5A" ma:contentTypeVersion="6" ma:contentTypeDescription="Create a new document." ma:contentTypeScope="" ma:versionID="4b5a1a476a0104ae65c9fdbb43bcaa7c">
  <xsd:schema xmlns:xsd="http://www.w3.org/2001/XMLSchema" xmlns:xs="http://www.w3.org/2001/XMLSchema" xmlns:p="http://schemas.microsoft.com/office/2006/metadata/properties" xmlns:ns2="9819dc5b-1d08-4c0c-8424-06dc4626d77b" xmlns:ns3="2797cbe4-3d1e-4cdb-a58b-12c16062002a" targetNamespace="http://schemas.microsoft.com/office/2006/metadata/properties" ma:root="true" ma:fieldsID="65644471d000b24673fca2c5b5e7761f" ns2:_="" ns3:_="">
    <xsd:import namespace="9819dc5b-1d08-4c0c-8424-06dc4626d77b"/>
    <xsd:import namespace="2797cbe4-3d1e-4cdb-a58b-12c16062002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19dc5b-1d08-4c0c-8424-06dc4626d7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97cbe4-3d1e-4cdb-a58b-12c16062002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797cbe4-3d1e-4cdb-a58b-12c16062002a">
      <UserInfo>
        <DisplayName>Alicia Morehouse</DisplayName>
        <AccountId>202</AccountId>
        <AccountType/>
      </UserInfo>
    </SharedWithUsers>
  </documentManagement>
</p:properties>
</file>

<file path=customXml/itemProps1.xml><?xml version="1.0" encoding="utf-8"?>
<ds:datastoreItem xmlns:ds="http://schemas.openxmlformats.org/officeDocument/2006/customXml" ds:itemID="{D50C67C0-89DF-42CB-B6B2-1D88CF2C1773}">
  <ds:schemaRefs>
    <ds:schemaRef ds:uri="http://schemas.microsoft.com/sharepoint/v3/contenttype/forms"/>
  </ds:schemaRefs>
</ds:datastoreItem>
</file>

<file path=customXml/itemProps2.xml><?xml version="1.0" encoding="utf-8"?>
<ds:datastoreItem xmlns:ds="http://schemas.openxmlformats.org/officeDocument/2006/customXml" ds:itemID="{22766A2D-96E5-47DF-900C-87A7A085076C}">
  <ds:schemaRefs>
    <ds:schemaRef ds:uri="2797cbe4-3d1e-4cdb-a58b-12c16062002a"/>
    <ds:schemaRef ds:uri="9819dc5b-1d08-4c0c-8424-06dc4626d7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C86DB61-D6BB-4655-A234-DB58689FF75A}">
  <ds:schemaRefs>
    <ds:schemaRef ds:uri="http://purl.org/dc/elements/1.1/"/>
    <ds:schemaRef ds:uri="9819dc5b-1d08-4c0c-8424-06dc4626d77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2797cbe4-3d1e-4cdb-a58b-12c16062002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HV2024</Template>
  <TotalTime>134</TotalTime>
  <Words>1493</Words>
  <Application>Microsoft Office PowerPoint</Application>
  <PresentationFormat>On-screen Show (16:9)</PresentationFormat>
  <Paragraphs>370</Paragraphs>
  <Slides>2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ocomat Pro Light</vt:lpstr>
      <vt:lpstr>HelveticaNeueLT Std</vt:lpstr>
      <vt:lpstr>Neue Haas Grotesk Text Pro</vt:lpstr>
      <vt:lpstr>Symbol</vt:lpstr>
      <vt:lpstr>Times New Roman</vt:lpstr>
      <vt:lpstr>Wingdings</vt:lpstr>
      <vt:lpstr>1_HV2024</vt:lpstr>
      <vt:lpstr>2_HV2024</vt:lpstr>
      <vt:lpstr>think-cell Slide</vt:lpstr>
      <vt:lpstr>Unstoppable: Enabling Hitachi + Cisco Customers &amp; Partners</vt:lpstr>
      <vt:lpstr>Trends Impacting the Data Center</vt:lpstr>
      <vt:lpstr>Business Outcome Focused</vt:lpstr>
      <vt:lpstr>Hitachi Experience in As-a-Service</vt:lpstr>
      <vt:lpstr>As-a-Service Portfolio Managed &amp; Flexible Consumption Options</vt:lpstr>
      <vt:lpstr>The Most Resilient and Scalable Hybrid Cloud Infrastructure HC2</vt:lpstr>
      <vt:lpstr>Unlock Unmatched IT Flexibility and Efficiency with Hitachi EverFlex Levels of Service</vt:lpstr>
      <vt:lpstr>Hitachi EverFlex Hybrid Cloud Advantage EverFlex Control</vt:lpstr>
      <vt:lpstr>Hitachi EverFlex with Cisco Powered Hybrid Cloud featuring EverFlex Control</vt:lpstr>
      <vt:lpstr>HC2 – Targeted Use Cases</vt:lpstr>
      <vt:lpstr>TCO Improvement Summary</vt:lpstr>
      <vt:lpstr>Positive Analyst Feedback</vt:lpstr>
      <vt:lpstr>Partner Enablement</vt:lpstr>
      <vt:lpstr>What’s In It For You the Partner? </vt:lpstr>
      <vt:lpstr>Go to Market / Sales Enablement</vt:lpstr>
      <vt:lpstr>Ease of Doing Business Partner Enabled and Channel Ready</vt:lpstr>
      <vt:lpstr>Partner Value GoTo Market Paths</vt:lpstr>
      <vt:lpstr>HC² (Hitachi EverFlex with Cisco Powered Hybrid Cloud) Key Information</vt:lpstr>
      <vt:lpstr>Prospecting and Hot Customer Topics </vt:lpstr>
      <vt:lpstr>Hitachi EverFlex Competitive Advantages</vt:lpstr>
      <vt:lpstr>Solution Recap</vt:lpstr>
      <vt:lpstr>PowerPoint Presentation</vt:lpstr>
      <vt:lpstr>New Hitachi EverFlex | Infrastructure as a Service Portfolio</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anielle Esquivel</dc:creator>
  <cp:keywords/>
  <dc:description/>
  <cp:lastModifiedBy>Fardin Salam</cp:lastModifiedBy>
  <cp:revision>4</cp:revision>
  <dcterms:created xsi:type="dcterms:W3CDTF">2024-03-27T18:08:04Z</dcterms:created>
  <dcterms:modified xsi:type="dcterms:W3CDTF">2024-09-12T20:42: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F77A0C40EDE494190FAB9E1AB82AB5A</vt:lpwstr>
  </property>
  <property fmtid="{D5CDD505-2E9C-101B-9397-08002B2CF9AE}" pid="3" name="MediaServiceImageTags">
    <vt:lpwstr/>
  </property>
</Properties>
</file>